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69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8C10FC-A47E-1BD1-6BC3-218C48826D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2" name="think-cell data - do not delete" hidden="1">
            <a:extLst>
              <a:ext uri="{FF2B5EF4-FFF2-40B4-BE49-F238E27FC236}">
                <a16:creationId xmlns:a16="http://schemas.microsoft.com/office/drawing/2014/main" id="{21FD5985-F8D0-74AC-0B68-2ABB63B709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6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FD5985-F8D0-74AC-0B68-2ABB63B709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EA46841-EEAE-1523-E59B-674850EF3E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7 Conce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F71481-5E32-29F7-145D-6B005EA4A8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Heptagon 4">
            <a:extLst>
              <a:ext uri="{FF2B5EF4-FFF2-40B4-BE49-F238E27FC236}">
                <a16:creationId xmlns:a16="http://schemas.microsoft.com/office/drawing/2014/main" id="{E8AFD414-C229-B289-7E09-4A1FDFE9E813}"/>
              </a:ext>
            </a:extLst>
          </p:cNvPr>
          <p:cNvSpPr/>
          <p:nvPr/>
        </p:nvSpPr>
        <p:spPr>
          <a:xfrm rot="5400000">
            <a:off x="1161645" y="2021702"/>
            <a:ext cx="3227508" cy="3104166"/>
          </a:xfrm>
          <a:prstGeom prst="heptagon">
            <a:avLst/>
          </a:prstGeom>
          <a:noFill/>
          <a:ln w="19050" cap="rnd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764" b="1" dirty="0">
              <a:solidFill>
                <a:srgbClr val="FFFFFF"/>
              </a:solidFill>
            </a:endParaRPr>
          </a:p>
        </p:txBody>
      </p:sp>
      <p:sp>
        <p:nvSpPr>
          <p:cNvPr id="6" name="Folded Corner 67">
            <a:extLst>
              <a:ext uri="{FF2B5EF4-FFF2-40B4-BE49-F238E27FC236}">
                <a16:creationId xmlns:a16="http://schemas.microsoft.com/office/drawing/2014/main" id="{30D672C9-2EA6-AC85-49CB-05FA53A9D9C7}"/>
              </a:ext>
            </a:extLst>
          </p:cNvPr>
          <p:cNvSpPr/>
          <p:nvPr/>
        </p:nvSpPr>
        <p:spPr>
          <a:xfrm>
            <a:off x="6111567" y="2279422"/>
            <a:ext cx="5064152" cy="3351824"/>
          </a:xfrm>
          <a:prstGeom prst="foldedCorner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229" tIns="179229" rtlCol="0" anchor="t"/>
          <a:lstStyle/>
          <a:p>
            <a:pPr defTabSz="896113" fontAlgn="auto">
              <a:spcBef>
                <a:spcPct val="20000"/>
              </a:spcBef>
              <a:spcAft>
                <a:spcPts val="0"/>
              </a:spcAft>
              <a:defRPr/>
            </a:pPr>
            <a:endParaRPr lang="en-US" sz="1372" b="1" dirty="0">
              <a:solidFill>
                <a:srgbClr val="262626">
                  <a:lumMod val="90000"/>
                  <a:lumOff val="10000"/>
                </a:srgbClr>
              </a:solidFill>
              <a:cs typeface="Calibri" panose="020F0502020204030204" pitchFamily="34" charset="0"/>
            </a:endParaRPr>
          </a:p>
        </p:txBody>
      </p:sp>
      <p:sp>
        <p:nvSpPr>
          <p:cNvPr id="7" name="Round Same Side Corner Rectangle 69">
            <a:extLst>
              <a:ext uri="{FF2B5EF4-FFF2-40B4-BE49-F238E27FC236}">
                <a16:creationId xmlns:a16="http://schemas.microsoft.com/office/drawing/2014/main" id="{6CA81FE0-247B-1F99-1945-6B90AC647F61}"/>
              </a:ext>
            </a:extLst>
          </p:cNvPr>
          <p:cNvSpPr/>
          <p:nvPr/>
        </p:nvSpPr>
        <p:spPr>
          <a:xfrm>
            <a:off x="6111567" y="1680686"/>
            <a:ext cx="5064152" cy="553673"/>
          </a:xfrm>
          <a:prstGeom prst="round2Same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229" tIns="0" bIns="0" rtlCol="0" anchor="ctr"/>
          <a:lstStyle/>
          <a:p>
            <a:pPr defTabSz="896113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sz="1960" b="1" dirty="0">
                <a:solidFill>
                  <a:srgbClr val="FFFFFF"/>
                </a:solidFill>
                <a:cs typeface="Calibri" panose="020F0502020204030204" pitchFamily="34" charset="0"/>
              </a:rPr>
              <a:t>Insert Heading</a:t>
            </a:r>
          </a:p>
        </p:txBody>
      </p:sp>
      <p:sp>
        <p:nvSpPr>
          <p:cNvPr id="8" name="Inhaltsplatzhalter 4">
            <a:extLst>
              <a:ext uri="{FF2B5EF4-FFF2-40B4-BE49-F238E27FC236}">
                <a16:creationId xmlns:a16="http://schemas.microsoft.com/office/drawing/2014/main" id="{59C46045-648B-BD38-5185-825FBE8B91CE}"/>
              </a:ext>
            </a:extLst>
          </p:cNvPr>
          <p:cNvSpPr txBox="1">
            <a:spLocks/>
          </p:cNvSpPr>
          <p:nvPr/>
        </p:nvSpPr>
        <p:spPr>
          <a:xfrm>
            <a:off x="6324421" y="2381899"/>
            <a:ext cx="4431950" cy="277101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  <a:p>
            <a:pPr fontAlgn="auto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nsert bullet text her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7274D5E-FBF7-F953-0742-F163666C4738}"/>
              </a:ext>
            </a:extLst>
          </p:cNvPr>
          <p:cNvCxnSpPr>
            <a:cxnSpLocks/>
          </p:cNvCxnSpPr>
          <p:nvPr/>
        </p:nvCxnSpPr>
        <p:spPr>
          <a:xfrm flipH="1">
            <a:off x="1844041" y="3787140"/>
            <a:ext cx="441959" cy="167640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7008947-09AC-8EED-ECC0-99764069360B}"/>
              </a:ext>
            </a:extLst>
          </p:cNvPr>
          <p:cNvCxnSpPr>
            <a:cxnSpLocks/>
          </p:cNvCxnSpPr>
          <p:nvPr/>
        </p:nvCxnSpPr>
        <p:spPr>
          <a:xfrm flipH="1" flipV="1">
            <a:off x="1821180" y="3070860"/>
            <a:ext cx="480061" cy="228600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5B44465-FFE5-9DFF-E4D6-8F19DFC600C4}"/>
              </a:ext>
            </a:extLst>
          </p:cNvPr>
          <p:cNvCxnSpPr>
            <a:cxnSpLocks/>
          </p:cNvCxnSpPr>
          <p:nvPr/>
        </p:nvCxnSpPr>
        <p:spPr>
          <a:xfrm flipH="1" flipV="1">
            <a:off x="2598420" y="2583180"/>
            <a:ext cx="60960" cy="495300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DF85E26-0EC5-7F4D-C0C9-FD3520642A32}"/>
              </a:ext>
            </a:extLst>
          </p:cNvPr>
          <p:cNvCxnSpPr>
            <a:cxnSpLocks/>
          </p:cNvCxnSpPr>
          <p:nvPr/>
        </p:nvCxnSpPr>
        <p:spPr>
          <a:xfrm flipV="1">
            <a:off x="3093720" y="2804160"/>
            <a:ext cx="251460" cy="358140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A0E7FBD-6266-3117-1812-4FD3EAF5B23B}"/>
              </a:ext>
            </a:extLst>
          </p:cNvPr>
          <p:cNvCxnSpPr>
            <a:cxnSpLocks/>
            <a:stCxn id="53" idx="0"/>
            <a:endCxn id="49" idx="4"/>
          </p:cNvCxnSpPr>
          <p:nvPr/>
        </p:nvCxnSpPr>
        <p:spPr>
          <a:xfrm>
            <a:off x="3308675" y="3573787"/>
            <a:ext cx="365667" cy="12691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2007134-162D-1744-0C42-049A042008E2}"/>
              </a:ext>
            </a:extLst>
          </p:cNvPr>
          <p:cNvCxnSpPr>
            <a:cxnSpLocks/>
          </p:cNvCxnSpPr>
          <p:nvPr/>
        </p:nvCxnSpPr>
        <p:spPr>
          <a:xfrm flipH="1" flipV="1">
            <a:off x="3086100" y="3988536"/>
            <a:ext cx="274321" cy="313488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9BF9B26-5D3A-76A1-734F-15D63EF2BC62}"/>
              </a:ext>
            </a:extLst>
          </p:cNvPr>
          <p:cNvCxnSpPr>
            <a:cxnSpLocks/>
          </p:cNvCxnSpPr>
          <p:nvPr/>
        </p:nvCxnSpPr>
        <p:spPr>
          <a:xfrm flipV="1">
            <a:off x="2522220" y="4085844"/>
            <a:ext cx="114300" cy="469393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09167CA-FB5D-2318-14CE-65E6C6FBCC02}"/>
              </a:ext>
            </a:extLst>
          </p:cNvPr>
          <p:cNvGrpSpPr/>
          <p:nvPr/>
        </p:nvGrpSpPr>
        <p:grpSpPr>
          <a:xfrm>
            <a:off x="3122169" y="1938565"/>
            <a:ext cx="1002681" cy="1002634"/>
            <a:chOff x="876630" y="3815779"/>
            <a:chExt cx="1068006" cy="1067956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95C397FA-4F7F-9C43-F511-A3ACAB5A58EB}"/>
                </a:ext>
              </a:extLst>
            </p:cNvPr>
            <p:cNvSpPr/>
            <p:nvPr/>
          </p:nvSpPr>
          <p:spPr>
            <a:xfrm rot="5400000">
              <a:off x="876655" y="3815754"/>
              <a:ext cx="1067956" cy="106800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36D7E422-DD08-C179-56A2-CC8DAFEBF036}"/>
                </a:ext>
              </a:extLst>
            </p:cNvPr>
            <p:cNvGrpSpPr/>
            <p:nvPr/>
          </p:nvGrpSpPr>
          <p:grpSpPr>
            <a:xfrm>
              <a:off x="1094397" y="4136503"/>
              <a:ext cx="632472" cy="426508"/>
              <a:chOff x="6716027" y="5411634"/>
              <a:chExt cx="583964" cy="393797"/>
            </a:xfrm>
            <a:solidFill>
              <a:schemeClr val="bg1"/>
            </a:solidFill>
          </p:grpSpPr>
          <p:sp>
            <p:nvSpPr>
              <p:cNvPr id="19" name="Freeform 17">
                <a:extLst>
                  <a:ext uri="{FF2B5EF4-FFF2-40B4-BE49-F238E27FC236}">
                    <a16:creationId xmlns:a16="http://schemas.microsoft.com/office/drawing/2014/main" id="{D8674607-1802-FEE3-E34B-DEF4B68F9BA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832931" y="5294730"/>
                <a:ext cx="350155" cy="583964"/>
              </a:xfrm>
              <a:custGeom>
                <a:avLst/>
                <a:gdLst>
                  <a:gd name="T0" fmla="*/ 50 w 184"/>
                  <a:gd name="T1" fmla="*/ 310 h 310"/>
                  <a:gd name="T2" fmla="*/ 32 w 184"/>
                  <a:gd name="T3" fmla="*/ 282 h 310"/>
                  <a:gd name="T4" fmla="*/ 10 w 184"/>
                  <a:gd name="T5" fmla="*/ 199 h 310"/>
                  <a:gd name="T6" fmla="*/ 39 w 184"/>
                  <a:gd name="T7" fmla="*/ 171 h 310"/>
                  <a:gd name="T8" fmla="*/ 30 w 184"/>
                  <a:gd name="T9" fmla="*/ 116 h 310"/>
                  <a:gd name="T10" fmla="*/ 36 w 184"/>
                  <a:gd name="T11" fmla="*/ 73 h 310"/>
                  <a:gd name="T12" fmla="*/ 36 w 184"/>
                  <a:gd name="T13" fmla="*/ 72 h 310"/>
                  <a:gd name="T14" fmla="*/ 92 w 184"/>
                  <a:gd name="T15" fmla="*/ 0 h 310"/>
                  <a:gd name="T16" fmla="*/ 148 w 184"/>
                  <a:gd name="T17" fmla="*/ 72 h 310"/>
                  <a:gd name="T18" fmla="*/ 148 w 184"/>
                  <a:gd name="T19" fmla="*/ 73 h 310"/>
                  <a:gd name="T20" fmla="*/ 155 w 184"/>
                  <a:gd name="T21" fmla="*/ 116 h 310"/>
                  <a:gd name="T22" fmla="*/ 145 w 184"/>
                  <a:gd name="T23" fmla="*/ 171 h 310"/>
                  <a:gd name="T24" fmla="*/ 174 w 184"/>
                  <a:gd name="T25" fmla="*/ 199 h 310"/>
                  <a:gd name="T26" fmla="*/ 153 w 184"/>
                  <a:gd name="T27" fmla="*/ 282 h 310"/>
                  <a:gd name="T28" fmla="*/ 134 w 184"/>
                  <a:gd name="T29" fmla="*/ 310 h 310"/>
                  <a:gd name="T30" fmla="*/ 134 w 184"/>
                  <a:gd name="T31" fmla="*/ 276 h 310"/>
                  <a:gd name="T32" fmla="*/ 118 w 184"/>
                  <a:gd name="T33" fmla="*/ 239 h 310"/>
                  <a:gd name="T34" fmla="*/ 118 w 184"/>
                  <a:gd name="T35" fmla="*/ 240 h 310"/>
                  <a:gd name="T36" fmla="*/ 115 w 184"/>
                  <a:gd name="T37" fmla="*/ 246 h 310"/>
                  <a:gd name="T38" fmla="*/ 108 w 184"/>
                  <a:gd name="T39" fmla="*/ 245 h 310"/>
                  <a:gd name="T40" fmla="*/ 76 w 184"/>
                  <a:gd name="T41" fmla="*/ 245 h 310"/>
                  <a:gd name="T42" fmla="*/ 69 w 184"/>
                  <a:gd name="T43" fmla="*/ 246 h 310"/>
                  <a:gd name="T44" fmla="*/ 66 w 184"/>
                  <a:gd name="T45" fmla="*/ 240 h 310"/>
                  <a:gd name="T46" fmla="*/ 66 w 184"/>
                  <a:gd name="T47" fmla="*/ 239 h 310"/>
                  <a:gd name="T48" fmla="*/ 50 w 184"/>
                  <a:gd name="T49" fmla="*/ 276 h 310"/>
                  <a:gd name="T50" fmla="*/ 50 w 184"/>
                  <a:gd name="T51" fmla="*/ 310 h 310"/>
                  <a:gd name="T52" fmla="*/ 55 w 184"/>
                  <a:gd name="T53" fmla="*/ 79 h 310"/>
                  <a:gd name="T54" fmla="*/ 50 w 184"/>
                  <a:gd name="T55" fmla="*/ 116 h 310"/>
                  <a:gd name="T56" fmla="*/ 61 w 184"/>
                  <a:gd name="T57" fmla="*/ 174 h 310"/>
                  <a:gd name="T58" fmla="*/ 64 w 184"/>
                  <a:gd name="T59" fmla="*/ 184 h 310"/>
                  <a:gd name="T60" fmla="*/ 54 w 184"/>
                  <a:gd name="T61" fmla="*/ 187 h 310"/>
                  <a:gd name="T62" fmla="*/ 29 w 184"/>
                  <a:gd name="T63" fmla="*/ 205 h 310"/>
                  <a:gd name="T64" fmla="*/ 36 w 184"/>
                  <a:gd name="T65" fmla="*/ 247 h 310"/>
                  <a:gd name="T66" fmla="*/ 65 w 184"/>
                  <a:gd name="T67" fmla="*/ 215 h 310"/>
                  <a:gd name="T68" fmla="*/ 74 w 184"/>
                  <a:gd name="T69" fmla="*/ 209 h 310"/>
                  <a:gd name="T70" fmla="*/ 79 w 184"/>
                  <a:gd name="T71" fmla="*/ 219 h 310"/>
                  <a:gd name="T72" fmla="*/ 82 w 184"/>
                  <a:gd name="T73" fmla="*/ 225 h 310"/>
                  <a:gd name="T74" fmla="*/ 103 w 184"/>
                  <a:gd name="T75" fmla="*/ 225 h 310"/>
                  <a:gd name="T76" fmla="*/ 105 w 184"/>
                  <a:gd name="T77" fmla="*/ 219 h 310"/>
                  <a:gd name="T78" fmla="*/ 110 w 184"/>
                  <a:gd name="T79" fmla="*/ 209 h 310"/>
                  <a:gd name="T80" fmla="*/ 120 w 184"/>
                  <a:gd name="T81" fmla="*/ 215 h 310"/>
                  <a:gd name="T82" fmla="*/ 148 w 184"/>
                  <a:gd name="T83" fmla="*/ 247 h 310"/>
                  <a:gd name="T84" fmla="*/ 155 w 184"/>
                  <a:gd name="T85" fmla="*/ 205 h 310"/>
                  <a:gd name="T86" fmla="*/ 130 w 184"/>
                  <a:gd name="T87" fmla="*/ 187 h 310"/>
                  <a:gd name="T88" fmla="*/ 120 w 184"/>
                  <a:gd name="T89" fmla="*/ 184 h 310"/>
                  <a:gd name="T90" fmla="*/ 123 w 184"/>
                  <a:gd name="T91" fmla="*/ 174 h 310"/>
                  <a:gd name="T92" fmla="*/ 135 w 184"/>
                  <a:gd name="T93" fmla="*/ 116 h 310"/>
                  <a:gd name="T94" fmla="*/ 129 w 184"/>
                  <a:gd name="T95" fmla="*/ 79 h 310"/>
                  <a:gd name="T96" fmla="*/ 92 w 184"/>
                  <a:gd name="T97" fmla="*/ 21 h 310"/>
                  <a:gd name="T98" fmla="*/ 55 w 184"/>
                  <a:gd name="T99" fmla="*/ 79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84" h="310">
                    <a:moveTo>
                      <a:pt x="50" y="310"/>
                    </a:moveTo>
                    <a:cubicBezTo>
                      <a:pt x="32" y="282"/>
                      <a:pt x="32" y="282"/>
                      <a:pt x="32" y="282"/>
                    </a:cubicBezTo>
                    <a:cubicBezTo>
                      <a:pt x="28" y="276"/>
                      <a:pt x="0" y="230"/>
                      <a:pt x="10" y="199"/>
                    </a:cubicBezTo>
                    <a:cubicBezTo>
                      <a:pt x="14" y="187"/>
                      <a:pt x="24" y="178"/>
                      <a:pt x="39" y="171"/>
                    </a:cubicBezTo>
                    <a:cubicBezTo>
                      <a:pt x="33" y="151"/>
                      <a:pt x="30" y="132"/>
                      <a:pt x="30" y="116"/>
                    </a:cubicBezTo>
                    <a:cubicBezTo>
                      <a:pt x="30" y="102"/>
                      <a:pt x="32" y="87"/>
                      <a:pt x="36" y="73"/>
                    </a:cubicBezTo>
                    <a:cubicBezTo>
                      <a:pt x="36" y="72"/>
                      <a:pt x="36" y="72"/>
                      <a:pt x="36" y="72"/>
                    </a:cubicBezTo>
                    <a:cubicBezTo>
                      <a:pt x="50" y="35"/>
                      <a:pt x="77" y="0"/>
                      <a:pt x="92" y="0"/>
                    </a:cubicBezTo>
                    <a:cubicBezTo>
                      <a:pt x="107" y="0"/>
                      <a:pt x="134" y="35"/>
                      <a:pt x="148" y="72"/>
                    </a:cubicBezTo>
                    <a:cubicBezTo>
                      <a:pt x="148" y="73"/>
                      <a:pt x="148" y="73"/>
                      <a:pt x="148" y="73"/>
                    </a:cubicBezTo>
                    <a:cubicBezTo>
                      <a:pt x="152" y="87"/>
                      <a:pt x="155" y="102"/>
                      <a:pt x="155" y="116"/>
                    </a:cubicBezTo>
                    <a:cubicBezTo>
                      <a:pt x="155" y="132"/>
                      <a:pt x="152" y="151"/>
                      <a:pt x="145" y="171"/>
                    </a:cubicBezTo>
                    <a:cubicBezTo>
                      <a:pt x="160" y="178"/>
                      <a:pt x="170" y="187"/>
                      <a:pt x="174" y="199"/>
                    </a:cubicBezTo>
                    <a:cubicBezTo>
                      <a:pt x="184" y="230"/>
                      <a:pt x="156" y="276"/>
                      <a:pt x="153" y="282"/>
                    </a:cubicBezTo>
                    <a:cubicBezTo>
                      <a:pt x="134" y="310"/>
                      <a:pt x="134" y="310"/>
                      <a:pt x="134" y="310"/>
                    </a:cubicBezTo>
                    <a:cubicBezTo>
                      <a:pt x="134" y="276"/>
                      <a:pt x="134" y="276"/>
                      <a:pt x="134" y="276"/>
                    </a:cubicBezTo>
                    <a:cubicBezTo>
                      <a:pt x="134" y="262"/>
                      <a:pt x="128" y="248"/>
                      <a:pt x="118" y="239"/>
                    </a:cubicBezTo>
                    <a:cubicBezTo>
                      <a:pt x="118" y="239"/>
                      <a:pt x="118" y="239"/>
                      <a:pt x="118" y="240"/>
                    </a:cubicBezTo>
                    <a:cubicBezTo>
                      <a:pt x="115" y="246"/>
                      <a:pt x="115" y="246"/>
                      <a:pt x="115" y="246"/>
                    </a:cubicBezTo>
                    <a:cubicBezTo>
                      <a:pt x="108" y="245"/>
                      <a:pt x="108" y="245"/>
                      <a:pt x="108" y="245"/>
                    </a:cubicBezTo>
                    <a:cubicBezTo>
                      <a:pt x="98" y="245"/>
                      <a:pt x="87" y="245"/>
                      <a:pt x="76" y="245"/>
                    </a:cubicBezTo>
                    <a:cubicBezTo>
                      <a:pt x="69" y="246"/>
                      <a:pt x="69" y="246"/>
                      <a:pt x="69" y="246"/>
                    </a:cubicBezTo>
                    <a:cubicBezTo>
                      <a:pt x="66" y="240"/>
                      <a:pt x="66" y="240"/>
                      <a:pt x="66" y="240"/>
                    </a:cubicBezTo>
                    <a:cubicBezTo>
                      <a:pt x="66" y="239"/>
                      <a:pt x="66" y="239"/>
                      <a:pt x="66" y="239"/>
                    </a:cubicBezTo>
                    <a:cubicBezTo>
                      <a:pt x="56" y="249"/>
                      <a:pt x="50" y="262"/>
                      <a:pt x="50" y="276"/>
                    </a:cubicBezTo>
                    <a:lnTo>
                      <a:pt x="50" y="310"/>
                    </a:lnTo>
                    <a:close/>
                    <a:moveTo>
                      <a:pt x="55" y="79"/>
                    </a:moveTo>
                    <a:cubicBezTo>
                      <a:pt x="52" y="91"/>
                      <a:pt x="50" y="104"/>
                      <a:pt x="50" y="116"/>
                    </a:cubicBezTo>
                    <a:cubicBezTo>
                      <a:pt x="50" y="132"/>
                      <a:pt x="53" y="152"/>
                      <a:pt x="61" y="174"/>
                    </a:cubicBezTo>
                    <a:cubicBezTo>
                      <a:pt x="64" y="184"/>
                      <a:pt x="64" y="184"/>
                      <a:pt x="64" y="184"/>
                    </a:cubicBezTo>
                    <a:cubicBezTo>
                      <a:pt x="54" y="187"/>
                      <a:pt x="54" y="187"/>
                      <a:pt x="54" y="187"/>
                    </a:cubicBezTo>
                    <a:cubicBezTo>
                      <a:pt x="45" y="190"/>
                      <a:pt x="33" y="196"/>
                      <a:pt x="29" y="205"/>
                    </a:cubicBezTo>
                    <a:cubicBezTo>
                      <a:pt x="26" y="216"/>
                      <a:pt x="30" y="233"/>
                      <a:pt x="36" y="247"/>
                    </a:cubicBezTo>
                    <a:cubicBezTo>
                      <a:pt x="42" y="234"/>
                      <a:pt x="52" y="223"/>
                      <a:pt x="65" y="215"/>
                    </a:cubicBezTo>
                    <a:cubicBezTo>
                      <a:pt x="74" y="209"/>
                      <a:pt x="74" y="209"/>
                      <a:pt x="74" y="209"/>
                    </a:cubicBezTo>
                    <a:cubicBezTo>
                      <a:pt x="79" y="219"/>
                      <a:pt x="79" y="219"/>
                      <a:pt x="79" y="219"/>
                    </a:cubicBezTo>
                    <a:cubicBezTo>
                      <a:pt x="80" y="221"/>
                      <a:pt x="81" y="223"/>
                      <a:pt x="82" y="225"/>
                    </a:cubicBezTo>
                    <a:cubicBezTo>
                      <a:pt x="89" y="225"/>
                      <a:pt x="96" y="225"/>
                      <a:pt x="103" y="225"/>
                    </a:cubicBezTo>
                    <a:cubicBezTo>
                      <a:pt x="104" y="223"/>
                      <a:pt x="105" y="221"/>
                      <a:pt x="105" y="219"/>
                    </a:cubicBezTo>
                    <a:cubicBezTo>
                      <a:pt x="110" y="209"/>
                      <a:pt x="110" y="209"/>
                      <a:pt x="110" y="209"/>
                    </a:cubicBezTo>
                    <a:cubicBezTo>
                      <a:pt x="120" y="215"/>
                      <a:pt x="120" y="215"/>
                      <a:pt x="120" y="215"/>
                    </a:cubicBezTo>
                    <a:cubicBezTo>
                      <a:pt x="133" y="223"/>
                      <a:pt x="142" y="234"/>
                      <a:pt x="148" y="247"/>
                    </a:cubicBezTo>
                    <a:cubicBezTo>
                      <a:pt x="154" y="233"/>
                      <a:pt x="159" y="216"/>
                      <a:pt x="155" y="205"/>
                    </a:cubicBezTo>
                    <a:cubicBezTo>
                      <a:pt x="152" y="196"/>
                      <a:pt x="140" y="190"/>
                      <a:pt x="130" y="187"/>
                    </a:cubicBezTo>
                    <a:cubicBezTo>
                      <a:pt x="120" y="184"/>
                      <a:pt x="120" y="184"/>
                      <a:pt x="120" y="184"/>
                    </a:cubicBezTo>
                    <a:cubicBezTo>
                      <a:pt x="123" y="174"/>
                      <a:pt x="123" y="174"/>
                      <a:pt x="123" y="174"/>
                    </a:cubicBezTo>
                    <a:cubicBezTo>
                      <a:pt x="131" y="152"/>
                      <a:pt x="135" y="132"/>
                      <a:pt x="135" y="116"/>
                    </a:cubicBezTo>
                    <a:cubicBezTo>
                      <a:pt x="135" y="104"/>
                      <a:pt x="133" y="91"/>
                      <a:pt x="129" y="79"/>
                    </a:cubicBezTo>
                    <a:cubicBezTo>
                      <a:pt x="117" y="47"/>
                      <a:pt x="99" y="26"/>
                      <a:pt x="92" y="21"/>
                    </a:cubicBezTo>
                    <a:cubicBezTo>
                      <a:pt x="85" y="26"/>
                      <a:pt x="67" y="47"/>
                      <a:pt x="55" y="7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20" name="Freeform 18">
                <a:extLst>
                  <a:ext uri="{FF2B5EF4-FFF2-40B4-BE49-F238E27FC236}">
                    <a16:creationId xmlns:a16="http://schemas.microsoft.com/office/drawing/2014/main" id="{C87834F9-587C-668C-86A1-16EF0E09FD9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989613" y="5483631"/>
                <a:ext cx="121724" cy="120112"/>
              </a:xfrm>
              <a:custGeom>
                <a:avLst/>
                <a:gdLst>
                  <a:gd name="T0" fmla="*/ 32 w 64"/>
                  <a:gd name="T1" fmla="*/ 64 h 64"/>
                  <a:gd name="T2" fmla="*/ 0 w 64"/>
                  <a:gd name="T3" fmla="*/ 32 h 64"/>
                  <a:gd name="T4" fmla="*/ 32 w 64"/>
                  <a:gd name="T5" fmla="*/ 0 h 64"/>
                  <a:gd name="T6" fmla="*/ 64 w 64"/>
                  <a:gd name="T7" fmla="*/ 32 h 64"/>
                  <a:gd name="T8" fmla="*/ 32 w 64"/>
                  <a:gd name="T9" fmla="*/ 64 h 64"/>
                  <a:gd name="T10" fmla="*/ 32 w 64"/>
                  <a:gd name="T11" fmla="*/ 12 h 64"/>
                  <a:gd name="T12" fmla="*/ 12 w 64"/>
                  <a:gd name="T13" fmla="*/ 32 h 64"/>
                  <a:gd name="T14" fmla="*/ 32 w 64"/>
                  <a:gd name="T15" fmla="*/ 52 h 64"/>
                  <a:gd name="T16" fmla="*/ 52 w 64"/>
                  <a:gd name="T17" fmla="*/ 32 h 64"/>
                  <a:gd name="T18" fmla="*/ 32 w 64"/>
                  <a:gd name="T19" fmla="*/ 1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" h="64">
                    <a:moveTo>
                      <a:pt x="32" y="64"/>
                    </a:moveTo>
                    <a:cubicBezTo>
                      <a:pt x="14" y="64"/>
                      <a:pt x="0" y="50"/>
                      <a:pt x="0" y="32"/>
                    </a:cubicBezTo>
                    <a:cubicBezTo>
                      <a:pt x="0" y="14"/>
                      <a:pt x="14" y="0"/>
                      <a:pt x="32" y="0"/>
                    </a:cubicBezTo>
                    <a:cubicBezTo>
                      <a:pt x="50" y="0"/>
                      <a:pt x="64" y="14"/>
                      <a:pt x="64" y="32"/>
                    </a:cubicBezTo>
                    <a:cubicBezTo>
                      <a:pt x="64" y="50"/>
                      <a:pt x="50" y="64"/>
                      <a:pt x="32" y="64"/>
                    </a:cubicBezTo>
                    <a:close/>
                    <a:moveTo>
                      <a:pt x="32" y="12"/>
                    </a:moveTo>
                    <a:cubicBezTo>
                      <a:pt x="21" y="12"/>
                      <a:pt x="12" y="21"/>
                      <a:pt x="12" y="32"/>
                    </a:cubicBezTo>
                    <a:cubicBezTo>
                      <a:pt x="12" y="43"/>
                      <a:pt x="21" y="52"/>
                      <a:pt x="32" y="52"/>
                    </a:cubicBezTo>
                    <a:cubicBezTo>
                      <a:pt x="43" y="52"/>
                      <a:pt x="52" y="43"/>
                      <a:pt x="52" y="32"/>
                    </a:cubicBezTo>
                    <a:cubicBezTo>
                      <a:pt x="52" y="21"/>
                      <a:pt x="43" y="12"/>
                      <a:pt x="3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21" name="Freeform 19">
                <a:extLst>
                  <a:ext uri="{FF2B5EF4-FFF2-40B4-BE49-F238E27FC236}">
                    <a16:creationId xmlns:a16="http://schemas.microsoft.com/office/drawing/2014/main" id="{EC86A40E-536F-16AB-95BC-C91525ED57B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790966" y="5660018"/>
                <a:ext cx="112239" cy="178587"/>
              </a:xfrm>
              <a:custGeom>
                <a:avLst/>
                <a:gdLst>
                  <a:gd name="T0" fmla="*/ 29 w 59"/>
                  <a:gd name="T1" fmla="*/ 95 h 95"/>
                  <a:gd name="T2" fmla="*/ 24 w 59"/>
                  <a:gd name="T3" fmla="*/ 85 h 95"/>
                  <a:gd name="T4" fmla="*/ 0 w 59"/>
                  <a:gd name="T5" fmla="*/ 26 h 95"/>
                  <a:gd name="T6" fmla="*/ 29 w 59"/>
                  <a:gd name="T7" fmla="*/ 0 h 95"/>
                  <a:gd name="T8" fmla="*/ 59 w 59"/>
                  <a:gd name="T9" fmla="*/ 26 h 95"/>
                  <a:gd name="T10" fmla="*/ 34 w 59"/>
                  <a:gd name="T11" fmla="*/ 85 h 95"/>
                  <a:gd name="T12" fmla="*/ 29 w 59"/>
                  <a:gd name="T13" fmla="*/ 95 h 95"/>
                  <a:gd name="T14" fmla="*/ 29 w 59"/>
                  <a:gd name="T15" fmla="*/ 12 h 95"/>
                  <a:gd name="T16" fmla="*/ 12 w 59"/>
                  <a:gd name="T17" fmla="*/ 26 h 95"/>
                  <a:gd name="T18" fmla="*/ 29 w 59"/>
                  <a:gd name="T19" fmla="*/ 69 h 95"/>
                  <a:gd name="T20" fmla="*/ 47 w 59"/>
                  <a:gd name="T21" fmla="*/ 26 h 95"/>
                  <a:gd name="T22" fmla="*/ 29 w 59"/>
                  <a:gd name="T23" fmla="*/ 12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" h="95">
                    <a:moveTo>
                      <a:pt x="29" y="95"/>
                    </a:moveTo>
                    <a:cubicBezTo>
                      <a:pt x="24" y="85"/>
                      <a:pt x="24" y="85"/>
                      <a:pt x="24" y="85"/>
                    </a:cubicBezTo>
                    <a:cubicBezTo>
                      <a:pt x="20" y="77"/>
                      <a:pt x="0" y="38"/>
                      <a:pt x="0" y="26"/>
                    </a:cubicBezTo>
                    <a:cubicBezTo>
                      <a:pt x="0" y="12"/>
                      <a:pt x="13" y="0"/>
                      <a:pt x="29" y="0"/>
                    </a:cubicBezTo>
                    <a:cubicBezTo>
                      <a:pt x="45" y="0"/>
                      <a:pt x="59" y="12"/>
                      <a:pt x="59" y="26"/>
                    </a:cubicBezTo>
                    <a:cubicBezTo>
                      <a:pt x="59" y="38"/>
                      <a:pt x="39" y="77"/>
                      <a:pt x="34" y="85"/>
                    </a:cubicBezTo>
                    <a:lnTo>
                      <a:pt x="29" y="95"/>
                    </a:lnTo>
                    <a:close/>
                    <a:moveTo>
                      <a:pt x="29" y="12"/>
                    </a:moveTo>
                    <a:cubicBezTo>
                      <a:pt x="19" y="12"/>
                      <a:pt x="12" y="18"/>
                      <a:pt x="12" y="26"/>
                    </a:cubicBezTo>
                    <a:cubicBezTo>
                      <a:pt x="12" y="31"/>
                      <a:pt x="20" y="50"/>
                      <a:pt x="29" y="69"/>
                    </a:cubicBezTo>
                    <a:cubicBezTo>
                      <a:pt x="38" y="50"/>
                      <a:pt x="47" y="31"/>
                      <a:pt x="47" y="26"/>
                    </a:cubicBezTo>
                    <a:cubicBezTo>
                      <a:pt x="47" y="18"/>
                      <a:pt x="39" y="12"/>
                      <a:pt x="29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846347C6-D819-74E4-5B49-01E152151AF8}"/>
              </a:ext>
            </a:extLst>
          </p:cNvPr>
          <p:cNvGrpSpPr/>
          <p:nvPr/>
        </p:nvGrpSpPr>
        <p:grpSpPr>
          <a:xfrm>
            <a:off x="3122169" y="4231761"/>
            <a:ext cx="1002679" cy="1002629"/>
            <a:chOff x="2241396" y="4563294"/>
            <a:chExt cx="1068004" cy="1067951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7F2972B7-1D2D-A133-634D-64781097E02E}"/>
                </a:ext>
              </a:extLst>
            </p:cNvPr>
            <p:cNvSpPr/>
            <p:nvPr/>
          </p:nvSpPr>
          <p:spPr>
            <a:xfrm rot="5400000">
              <a:off x="2241422" y="4563268"/>
              <a:ext cx="1067951" cy="106800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6E01E90F-C255-D18F-634F-D4ED0AB471B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575304" y="4777932"/>
              <a:ext cx="400186" cy="638676"/>
              <a:chOff x="6513513" y="557213"/>
              <a:chExt cx="471488" cy="752475"/>
            </a:xfrm>
            <a:solidFill>
              <a:schemeClr val="bg1"/>
            </a:solidFill>
          </p:grpSpPr>
          <p:sp>
            <p:nvSpPr>
              <p:cNvPr id="25" name="Freeform 21">
                <a:extLst>
                  <a:ext uri="{FF2B5EF4-FFF2-40B4-BE49-F238E27FC236}">
                    <a16:creationId xmlns:a16="http://schemas.microsoft.com/office/drawing/2014/main" id="{D846F577-4A0F-D68E-2216-01493CD6FC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13513" y="557213"/>
                <a:ext cx="471488" cy="752475"/>
              </a:xfrm>
              <a:custGeom>
                <a:avLst/>
                <a:gdLst>
                  <a:gd name="T0" fmla="*/ 80 w 160"/>
                  <a:gd name="T1" fmla="*/ 0 h 256"/>
                  <a:gd name="T2" fmla="*/ 11 w 160"/>
                  <a:gd name="T3" fmla="*/ 120 h 256"/>
                  <a:gd name="T4" fmla="*/ 42 w 160"/>
                  <a:gd name="T5" fmla="*/ 179 h 256"/>
                  <a:gd name="T6" fmla="*/ 49 w 160"/>
                  <a:gd name="T7" fmla="*/ 187 h 256"/>
                  <a:gd name="T8" fmla="*/ 48 w 160"/>
                  <a:gd name="T9" fmla="*/ 208 h 256"/>
                  <a:gd name="T10" fmla="*/ 52 w 160"/>
                  <a:gd name="T11" fmla="*/ 231 h 256"/>
                  <a:gd name="T12" fmla="*/ 108 w 160"/>
                  <a:gd name="T13" fmla="*/ 231 h 256"/>
                  <a:gd name="T14" fmla="*/ 112 w 160"/>
                  <a:gd name="T15" fmla="*/ 208 h 256"/>
                  <a:gd name="T16" fmla="*/ 110 w 160"/>
                  <a:gd name="T17" fmla="*/ 187 h 256"/>
                  <a:gd name="T18" fmla="*/ 118 w 160"/>
                  <a:gd name="T19" fmla="*/ 179 h 256"/>
                  <a:gd name="T20" fmla="*/ 149 w 160"/>
                  <a:gd name="T21" fmla="*/ 120 h 256"/>
                  <a:gd name="T22" fmla="*/ 80 w 160"/>
                  <a:gd name="T23" fmla="*/ 248 h 256"/>
                  <a:gd name="T24" fmla="*/ 99 w 160"/>
                  <a:gd name="T25" fmla="*/ 232 h 256"/>
                  <a:gd name="T26" fmla="*/ 108 w 160"/>
                  <a:gd name="T27" fmla="*/ 218 h 256"/>
                  <a:gd name="T28" fmla="*/ 58 w 160"/>
                  <a:gd name="T29" fmla="*/ 224 h 256"/>
                  <a:gd name="T30" fmla="*/ 58 w 160"/>
                  <a:gd name="T31" fmla="*/ 212 h 256"/>
                  <a:gd name="T32" fmla="*/ 108 w 160"/>
                  <a:gd name="T33" fmla="*/ 218 h 256"/>
                  <a:gd name="T34" fmla="*/ 108 w 160"/>
                  <a:gd name="T35" fmla="*/ 198 h 256"/>
                  <a:gd name="T36" fmla="*/ 58 w 160"/>
                  <a:gd name="T37" fmla="*/ 204 h 256"/>
                  <a:gd name="T38" fmla="*/ 58 w 160"/>
                  <a:gd name="T39" fmla="*/ 192 h 256"/>
                  <a:gd name="T40" fmla="*/ 96 w 160"/>
                  <a:gd name="T41" fmla="*/ 192 h 256"/>
                  <a:gd name="T42" fmla="*/ 135 w 160"/>
                  <a:gd name="T43" fmla="*/ 112 h 256"/>
                  <a:gd name="T44" fmla="*/ 104 w 160"/>
                  <a:gd name="T45" fmla="*/ 170 h 256"/>
                  <a:gd name="T46" fmla="*/ 96 w 160"/>
                  <a:gd name="T47" fmla="*/ 176 h 256"/>
                  <a:gd name="T48" fmla="*/ 96 w 160"/>
                  <a:gd name="T49" fmla="*/ 124 h 256"/>
                  <a:gd name="T50" fmla="*/ 88 w 160"/>
                  <a:gd name="T51" fmla="*/ 176 h 256"/>
                  <a:gd name="T52" fmla="*/ 68 w 160"/>
                  <a:gd name="T53" fmla="*/ 128 h 256"/>
                  <a:gd name="T54" fmla="*/ 60 w 160"/>
                  <a:gd name="T55" fmla="*/ 129 h 256"/>
                  <a:gd name="T56" fmla="*/ 57 w 160"/>
                  <a:gd name="T57" fmla="*/ 172 h 256"/>
                  <a:gd name="T58" fmla="*/ 26 w 160"/>
                  <a:gd name="T59" fmla="*/ 114 h 256"/>
                  <a:gd name="T60" fmla="*/ 16 w 160"/>
                  <a:gd name="T61" fmla="*/ 80 h 256"/>
                  <a:gd name="T62" fmla="*/ 144 w 160"/>
                  <a:gd name="T63" fmla="*/ 80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60" h="256">
                    <a:moveTo>
                      <a:pt x="160" y="80"/>
                    </a:moveTo>
                    <a:cubicBezTo>
                      <a:pt x="160" y="36"/>
                      <a:pt x="124" y="0"/>
                      <a:pt x="80" y="0"/>
                    </a:cubicBezTo>
                    <a:cubicBezTo>
                      <a:pt x="36" y="0"/>
                      <a:pt x="0" y="36"/>
                      <a:pt x="0" y="80"/>
                    </a:cubicBezTo>
                    <a:cubicBezTo>
                      <a:pt x="0" y="95"/>
                      <a:pt x="4" y="109"/>
                      <a:pt x="11" y="120"/>
                    </a:cubicBezTo>
                    <a:cubicBezTo>
                      <a:pt x="11" y="120"/>
                      <a:pt x="11" y="120"/>
                      <a:pt x="11" y="120"/>
                    </a:cubicBezTo>
                    <a:cubicBezTo>
                      <a:pt x="42" y="179"/>
                      <a:pt x="42" y="179"/>
                      <a:pt x="42" y="179"/>
                    </a:cubicBezTo>
                    <a:cubicBezTo>
                      <a:pt x="42" y="179"/>
                      <a:pt x="42" y="179"/>
                      <a:pt x="42" y="179"/>
                    </a:cubicBezTo>
                    <a:cubicBezTo>
                      <a:pt x="44" y="182"/>
                      <a:pt x="46" y="185"/>
                      <a:pt x="49" y="187"/>
                    </a:cubicBezTo>
                    <a:cubicBezTo>
                      <a:pt x="46" y="190"/>
                      <a:pt x="44" y="194"/>
                      <a:pt x="44" y="198"/>
                    </a:cubicBezTo>
                    <a:cubicBezTo>
                      <a:pt x="44" y="202"/>
                      <a:pt x="46" y="206"/>
                      <a:pt x="48" y="208"/>
                    </a:cubicBezTo>
                    <a:cubicBezTo>
                      <a:pt x="46" y="211"/>
                      <a:pt x="44" y="214"/>
                      <a:pt x="44" y="218"/>
                    </a:cubicBezTo>
                    <a:cubicBezTo>
                      <a:pt x="44" y="224"/>
                      <a:pt x="47" y="229"/>
                      <a:pt x="52" y="231"/>
                    </a:cubicBezTo>
                    <a:cubicBezTo>
                      <a:pt x="53" y="245"/>
                      <a:pt x="65" y="256"/>
                      <a:pt x="80" y="256"/>
                    </a:cubicBezTo>
                    <a:cubicBezTo>
                      <a:pt x="94" y="256"/>
                      <a:pt x="106" y="245"/>
                      <a:pt x="108" y="231"/>
                    </a:cubicBezTo>
                    <a:cubicBezTo>
                      <a:pt x="112" y="229"/>
                      <a:pt x="116" y="224"/>
                      <a:pt x="116" y="218"/>
                    </a:cubicBezTo>
                    <a:cubicBezTo>
                      <a:pt x="116" y="214"/>
                      <a:pt x="114" y="211"/>
                      <a:pt x="112" y="208"/>
                    </a:cubicBezTo>
                    <a:cubicBezTo>
                      <a:pt x="114" y="206"/>
                      <a:pt x="116" y="202"/>
                      <a:pt x="116" y="198"/>
                    </a:cubicBezTo>
                    <a:cubicBezTo>
                      <a:pt x="116" y="194"/>
                      <a:pt x="114" y="190"/>
                      <a:pt x="110" y="187"/>
                    </a:cubicBezTo>
                    <a:cubicBezTo>
                      <a:pt x="113" y="185"/>
                      <a:pt x="116" y="182"/>
                      <a:pt x="118" y="179"/>
                    </a:cubicBezTo>
                    <a:cubicBezTo>
                      <a:pt x="118" y="179"/>
                      <a:pt x="118" y="179"/>
                      <a:pt x="118" y="179"/>
                    </a:cubicBezTo>
                    <a:cubicBezTo>
                      <a:pt x="149" y="120"/>
                      <a:pt x="149" y="120"/>
                      <a:pt x="149" y="120"/>
                    </a:cubicBezTo>
                    <a:cubicBezTo>
                      <a:pt x="149" y="120"/>
                      <a:pt x="149" y="120"/>
                      <a:pt x="149" y="120"/>
                    </a:cubicBezTo>
                    <a:cubicBezTo>
                      <a:pt x="156" y="109"/>
                      <a:pt x="160" y="95"/>
                      <a:pt x="160" y="80"/>
                    </a:cubicBezTo>
                    <a:close/>
                    <a:moveTo>
                      <a:pt x="80" y="248"/>
                    </a:moveTo>
                    <a:cubicBezTo>
                      <a:pt x="70" y="248"/>
                      <a:pt x="62" y="241"/>
                      <a:pt x="60" y="232"/>
                    </a:cubicBezTo>
                    <a:cubicBezTo>
                      <a:pt x="99" y="232"/>
                      <a:pt x="99" y="232"/>
                      <a:pt x="99" y="232"/>
                    </a:cubicBezTo>
                    <a:cubicBezTo>
                      <a:pt x="97" y="241"/>
                      <a:pt x="89" y="248"/>
                      <a:pt x="80" y="248"/>
                    </a:cubicBezTo>
                    <a:close/>
                    <a:moveTo>
                      <a:pt x="108" y="218"/>
                    </a:moveTo>
                    <a:cubicBezTo>
                      <a:pt x="108" y="222"/>
                      <a:pt x="105" y="224"/>
                      <a:pt x="102" y="224"/>
                    </a:cubicBezTo>
                    <a:cubicBezTo>
                      <a:pt x="58" y="224"/>
                      <a:pt x="58" y="224"/>
                      <a:pt x="58" y="224"/>
                    </a:cubicBezTo>
                    <a:cubicBezTo>
                      <a:pt x="55" y="224"/>
                      <a:pt x="52" y="222"/>
                      <a:pt x="52" y="218"/>
                    </a:cubicBezTo>
                    <a:cubicBezTo>
                      <a:pt x="52" y="215"/>
                      <a:pt x="55" y="212"/>
                      <a:pt x="58" y="212"/>
                    </a:cubicBezTo>
                    <a:cubicBezTo>
                      <a:pt x="102" y="212"/>
                      <a:pt x="102" y="212"/>
                      <a:pt x="102" y="212"/>
                    </a:cubicBezTo>
                    <a:cubicBezTo>
                      <a:pt x="105" y="212"/>
                      <a:pt x="108" y="215"/>
                      <a:pt x="108" y="218"/>
                    </a:cubicBezTo>
                    <a:close/>
                    <a:moveTo>
                      <a:pt x="102" y="192"/>
                    </a:moveTo>
                    <a:cubicBezTo>
                      <a:pt x="105" y="192"/>
                      <a:pt x="108" y="195"/>
                      <a:pt x="108" y="198"/>
                    </a:cubicBezTo>
                    <a:cubicBezTo>
                      <a:pt x="108" y="202"/>
                      <a:pt x="105" y="204"/>
                      <a:pt x="102" y="204"/>
                    </a:cubicBezTo>
                    <a:cubicBezTo>
                      <a:pt x="58" y="204"/>
                      <a:pt x="58" y="204"/>
                      <a:pt x="58" y="204"/>
                    </a:cubicBezTo>
                    <a:cubicBezTo>
                      <a:pt x="55" y="204"/>
                      <a:pt x="52" y="202"/>
                      <a:pt x="52" y="198"/>
                    </a:cubicBezTo>
                    <a:cubicBezTo>
                      <a:pt x="52" y="195"/>
                      <a:pt x="55" y="192"/>
                      <a:pt x="58" y="192"/>
                    </a:cubicBezTo>
                    <a:cubicBezTo>
                      <a:pt x="64" y="192"/>
                      <a:pt x="64" y="192"/>
                      <a:pt x="64" y="192"/>
                    </a:cubicBezTo>
                    <a:cubicBezTo>
                      <a:pt x="96" y="192"/>
                      <a:pt x="96" y="192"/>
                      <a:pt x="96" y="192"/>
                    </a:cubicBezTo>
                    <a:lnTo>
                      <a:pt x="102" y="192"/>
                    </a:lnTo>
                    <a:close/>
                    <a:moveTo>
                      <a:pt x="135" y="112"/>
                    </a:moveTo>
                    <a:cubicBezTo>
                      <a:pt x="135" y="113"/>
                      <a:pt x="135" y="114"/>
                      <a:pt x="134" y="114"/>
                    </a:cubicBezTo>
                    <a:cubicBezTo>
                      <a:pt x="104" y="170"/>
                      <a:pt x="104" y="170"/>
                      <a:pt x="104" y="170"/>
                    </a:cubicBezTo>
                    <a:cubicBezTo>
                      <a:pt x="104" y="170"/>
                      <a:pt x="103" y="171"/>
                      <a:pt x="103" y="172"/>
                    </a:cubicBezTo>
                    <a:cubicBezTo>
                      <a:pt x="102" y="174"/>
                      <a:pt x="100" y="176"/>
                      <a:pt x="96" y="176"/>
                    </a:cubicBezTo>
                    <a:cubicBezTo>
                      <a:pt x="100" y="129"/>
                      <a:pt x="100" y="129"/>
                      <a:pt x="100" y="129"/>
                    </a:cubicBezTo>
                    <a:cubicBezTo>
                      <a:pt x="100" y="126"/>
                      <a:pt x="98" y="124"/>
                      <a:pt x="96" y="124"/>
                    </a:cubicBezTo>
                    <a:cubicBezTo>
                      <a:pt x="94" y="124"/>
                      <a:pt x="92" y="126"/>
                      <a:pt x="92" y="128"/>
                    </a:cubicBezTo>
                    <a:cubicBezTo>
                      <a:pt x="88" y="176"/>
                      <a:pt x="88" y="176"/>
                      <a:pt x="88" y="176"/>
                    </a:cubicBezTo>
                    <a:cubicBezTo>
                      <a:pt x="72" y="176"/>
                      <a:pt x="72" y="176"/>
                      <a:pt x="72" y="176"/>
                    </a:cubicBezTo>
                    <a:cubicBezTo>
                      <a:pt x="68" y="128"/>
                      <a:pt x="68" y="128"/>
                      <a:pt x="68" y="128"/>
                    </a:cubicBezTo>
                    <a:cubicBezTo>
                      <a:pt x="68" y="126"/>
                      <a:pt x="66" y="124"/>
                      <a:pt x="64" y="124"/>
                    </a:cubicBezTo>
                    <a:cubicBezTo>
                      <a:pt x="61" y="124"/>
                      <a:pt x="60" y="126"/>
                      <a:pt x="60" y="129"/>
                    </a:cubicBezTo>
                    <a:cubicBezTo>
                      <a:pt x="64" y="176"/>
                      <a:pt x="64" y="176"/>
                      <a:pt x="64" y="176"/>
                    </a:cubicBezTo>
                    <a:cubicBezTo>
                      <a:pt x="60" y="176"/>
                      <a:pt x="58" y="174"/>
                      <a:pt x="57" y="172"/>
                    </a:cubicBezTo>
                    <a:cubicBezTo>
                      <a:pt x="56" y="171"/>
                      <a:pt x="56" y="171"/>
                      <a:pt x="56" y="170"/>
                    </a:cubicBezTo>
                    <a:cubicBezTo>
                      <a:pt x="26" y="114"/>
                      <a:pt x="26" y="114"/>
                      <a:pt x="26" y="114"/>
                    </a:cubicBezTo>
                    <a:cubicBezTo>
                      <a:pt x="25" y="114"/>
                      <a:pt x="25" y="113"/>
                      <a:pt x="25" y="112"/>
                    </a:cubicBezTo>
                    <a:cubicBezTo>
                      <a:pt x="19" y="103"/>
                      <a:pt x="16" y="91"/>
                      <a:pt x="16" y="80"/>
                    </a:cubicBezTo>
                    <a:cubicBezTo>
                      <a:pt x="16" y="45"/>
                      <a:pt x="45" y="16"/>
                      <a:pt x="80" y="16"/>
                    </a:cubicBezTo>
                    <a:cubicBezTo>
                      <a:pt x="115" y="16"/>
                      <a:pt x="144" y="45"/>
                      <a:pt x="144" y="80"/>
                    </a:cubicBezTo>
                    <a:cubicBezTo>
                      <a:pt x="144" y="91"/>
                      <a:pt x="141" y="103"/>
                      <a:pt x="135" y="1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40" b="1">
                  <a:latin typeface="+mn-lt"/>
                </a:endParaRPr>
              </a:p>
            </p:txBody>
          </p:sp>
          <p:sp>
            <p:nvSpPr>
              <p:cNvPr id="26" name="Freeform 22">
                <a:extLst>
                  <a:ext uri="{FF2B5EF4-FFF2-40B4-BE49-F238E27FC236}">
                    <a16:creationId xmlns:a16="http://schemas.microsoft.com/office/drawing/2014/main" id="{57130F77-119C-4CB4-4A8A-10B8879E9B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08763" y="642938"/>
                <a:ext cx="120650" cy="103188"/>
              </a:xfrm>
              <a:custGeom>
                <a:avLst/>
                <a:gdLst>
                  <a:gd name="T0" fmla="*/ 35 w 41"/>
                  <a:gd name="T1" fmla="*/ 1 h 35"/>
                  <a:gd name="T2" fmla="*/ 1 w 41"/>
                  <a:gd name="T3" fmla="*/ 29 h 35"/>
                  <a:gd name="T4" fmla="*/ 3 w 41"/>
                  <a:gd name="T5" fmla="*/ 35 h 35"/>
                  <a:gd name="T6" fmla="*/ 4 w 41"/>
                  <a:gd name="T7" fmla="*/ 35 h 35"/>
                  <a:gd name="T8" fmla="*/ 8 w 41"/>
                  <a:gd name="T9" fmla="*/ 33 h 35"/>
                  <a:gd name="T10" fmla="*/ 37 w 41"/>
                  <a:gd name="T11" fmla="*/ 9 h 35"/>
                  <a:gd name="T12" fmla="*/ 40 w 41"/>
                  <a:gd name="T13" fmla="*/ 4 h 35"/>
                  <a:gd name="T14" fmla="*/ 35 w 41"/>
                  <a:gd name="T15" fmla="*/ 1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35">
                    <a:moveTo>
                      <a:pt x="35" y="1"/>
                    </a:moveTo>
                    <a:cubicBezTo>
                      <a:pt x="20" y="5"/>
                      <a:pt x="7" y="15"/>
                      <a:pt x="1" y="29"/>
                    </a:cubicBezTo>
                    <a:cubicBezTo>
                      <a:pt x="0" y="31"/>
                      <a:pt x="1" y="34"/>
                      <a:pt x="3" y="35"/>
                    </a:cubicBezTo>
                    <a:cubicBezTo>
                      <a:pt x="3" y="35"/>
                      <a:pt x="4" y="35"/>
                      <a:pt x="4" y="35"/>
                    </a:cubicBezTo>
                    <a:cubicBezTo>
                      <a:pt x="6" y="35"/>
                      <a:pt x="7" y="34"/>
                      <a:pt x="8" y="33"/>
                    </a:cubicBezTo>
                    <a:cubicBezTo>
                      <a:pt x="14" y="21"/>
                      <a:pt x="24" y="12"/>
                      <a:pt x="37" y="9"/>
                    </a:cubicBezTo>
                    <a:cubicBezTo>
                      <a:pt x="39" y="8"/>
                      <a:pt x="41" y="6"/>
                      <a:pt x="40" y="4"/>
                    </a:cubicBezTo>
                    <a:cubicBezTo>
                      <a:pt x="40" y="2"/>
                      <a:pt x="37" y="0"/>
                      <a:pt x="35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40" b="1">
                  <a:latin typeface="+mn-lt"/>
                </a:endParaRPr>
              </a:p>
            </p:txBody>
          </p:sp>
        </p:grp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C8DD320-B5D5-5A52-89BA-773D5F03D4BE}"/>
              </a:ext>
            </a:extLst>
          </p:cNvPr>
          <p:cNvGrpSpPr/>
          <p:nvPr/>
        </p:nvGrpSpPr>
        <p:grpSpPr>
          <a:xfrm>
            <a:off x="1881450" y="4514947"/>
            <a:ext cx="1002680" cy="1002634"/>
            <a:chOff x="3618856" y="3815779"/>
            <a:chExt cx="1068005" cy="1067956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01034CF1-2DCA-7ADD-326F-0A4A3C361C92}"/>
                </a:ext>
              </a:extLst>
            </p:cNvPr>
            <p:cNvSpPr/>
            <p:nvPr/>
          </p:nvSpPr>
          <p:spPr>
            <a:xfrm rot="5400000">
              <a:off x="3618881" y="3815754"/>
              <a:ext cx="1067956" cy="1068005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sp>
          <p:nvSpPr>
            <p:cNvPr id="29" name="Freeform 23">
              <a:extLst>
                <a:ext uri="{FF2B5EF4-FFF2-40B4-BE49-F238E27FC236}">
                  <a16:creationId xmlns:a16="http://schemas.microsoft.com/office/drawing/2014/main" id="{A79F1AA7-3233-4819-96FD-4EE11ABE21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72703" y="4101652"/>
              <a:ext cx="560312" cy="496208"/>
            </a:xfrm>
            <a:custGeom>
              <a:avLst/>
              <a:gdLst>
                <a:gd name="T0" fmla="*/ 232 w 256"/>
                <a:gd name="T1" fmla="*/ 84 h 227"/>
                <a:gd name="T2" fmla="*/ 172 w 256"/>
                <a:gd name="T3" fmla="*/ 44 h 227"/>
                <a:gd name="T4" fmla="*/ 120 w 256"/>
                <a:gd name="T5" fmla="*/ 48 h 227"/>
                <a:gd name="T6" fmla="*/ 64 w 256"/>
                <a:gd name="T7" fmla="*/ 107 h 227"/>
                <a:gd name="T8" fmla="*/ 0 w 256"/>
                <a:gd name="T9" fmla="*/ 131 h 227"/>
                <a:gd name="T10" fmla="*/ 32 w 256"/>
                <a:gd name="T11" fmla="*/ 227 h 227"/>
                <a:gd name="T12" fmla="*/ 87 w 256"/>
                <a:gd name="T13" fmla="*/ 212 h 227"/>
                <a:gd name="T14" fmla="*/ 103 w 256"/>
                <a:gd name="T15" fmla="*/ 219 h 227"/>
                <a:gd name="T16" fmla="*/ 232 w 256"/>
                <a:gd name="T17" fmla="*/ 197 h 227"/>
                <a:gd name="T18" fmla="*/ 240 w 256"/>
                <a:gd name="T19" fmla="*/ 169 h 227"/>
                <a:gd name="T20" fmla="*/ 248 w 256"/>
                <a:gd name="T21" fmla="*/ 140 h 227"/>
                <a:gd name="T22" fmla="*/ 256 w 256"/>
                <a:gd name="T23" fmla="*/ 108 h 227"/>
                <a:gd name="T24" fmla="*/ 32 w 256"/>
                <a:gd name="T25" fmla="*/ 211 h 227"/>
                <a:gd name="T26" fmla="*/ 16 w 256"/>
                <a:gd name="T27" fmla="*/ 131 h 227"/>
                <a:gd name="T28" fmla="*/ 64 w 256"/>
                <a:gd name="T29" fmla="*/ 123 h 227"/>
                <a:gd name="T30" fmla="*/ 72 w 256"/>
                <a:gd name="T31" fmla="*/ 198 h 227"/>
                <a:gd name="T32" fmla="*/ 72 w 256"/>
                <a:gd name="T33" fmla="*/ 203 h 227"/>
                <a:gd name="T34" fmla="*/ 210 w 256"/>
                <a:gd name="T35" fmla="*/ 203 h 227"/>
                <a:gd name="T36" fmla="*/ 88 w 256"/>
                <a:gd name="T37" fmla="*/ 194 h 227"/>
                <a:gd name="T38" fmla="*/ 86 w 256"/>
                <a:gd name="T39" fmla="*/ 121 h 227"/>
                <a:gd name="T40" fmla="*/ 140 w 256"/>
                <a:gd name="T41" fmla="*/ 16 h 227"/>
                <a:gd name="T42" fmla="*/ 152 w 256"/>
                <a:gd name="T43" fmla="*/ 90 h 227"/>
                <a:gd name="T44" fmla="*/ 160 w 256"/>
                <a:gd name="T45" fmla="*/ 100 h 227"/>
                <a:gd name="T46" fmla="*/ 240 w 256"/>
                <a:gd name="T47" fmla="*/ 108 h 227"/>
                <a:gd name="T48" fmla="*/ 223 w 256"/>
                <a:gd name="T49" fmla="*/ 116 h 227"/>
                <a:gd name="T50" fmla="*/ 223 w 256"/>
                <a:gd name="T51" fmla="*/ 132 h 227"/>
                <a:gd name="T52" fmla="*/ 224 w 256"/>
                <a:gd name="T53" fmla="*/ 132 h 227"/>
                <a:gd name="T54" fmla="*/ 224 w 256"/>
                <a:gd name="T55" fmla="*/ 148 h 227"/>
                <a:gd name="T56" fmla="*/ 218 w 256"/>
                <a:gd name="T57" fmla="*/ 147 h 227"/>
                <a:gd name="T58" fmla="*/ 215 w 256"/>
                <a:gd name="T59" fmla="*/ 148 h 227"/>
                <a:gd name="T60" fmla="*/ 215 w 256"/>
                <a:gd name="T61" fmla="*/ 164 h 227"/>
                <a:gd name="T62" fmla="*/ 224 w 256"/>
                <a:gd name="T63" fmla="*/ 169 h 227"/>
                <a:gd name="T64" fmla="*/ 210 w 256"/>
                <a:gd name="T65" fmla="*/ 175 h 227"/>
                <a:gd name="T66" fmla="*/ 210 w 256"/>
                <a:gd name="T67" fmla="*/ 175 h 227"/>
                <a:gd name="T68" fmla="*/ 210 w 256"/>
                <a:gd name="T69" fmla="*/ 191 h 227"/>
                <a:gd name="T70" fmla="*/ 210 w 256"/>
                <a:gd name="T71" fmla="*/ 20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6" h="227">
                  <a:moveTo>
                    <a:pt x="256" y="108"/>
                  </a:moveTo>
                  <a:cubicBezTo>
                    <a:pt x="256" y="94"/>
                    <a:pt x="245" y="84"/>
                    <a:pt x="232" y="84"/>
                  </a:cubicBezTo>
                  <a:cubicBezTo>
                    <a:pt x="169" y="84"/>
                    <a:pt x="169" y="84"/>
                    <a:pt x="169" y="84"/>
                  </a:cubicBezTo>
                  <a:cubicBezTo>
                    <a:pt x="171" y="74"/>
                    <a:pt x="172" y="59"/>
                    <a:pt x="172" y="44"/>
                  </a:cubicBezTo>
                  <a:cubicBezTo>
                    <a:pt x="172" y="13"/>
                    <a:pt x="156" y="0"/>
                    <a:pt x="140" y="0"/>
                  </a:cubicBezTo>
                  <a:cubicBezTo>
                    <a:pt x="120" y="0"/>
                    <a:pt x="120" y="21"/>
                    <a:pt x="120" y="48"/>
                  </a:cubicBezTo>
                  <a:cubicBezTo>
                    <a:pt x="120" y="67"/>
                    <a:pt x="90" y="97"/>
                    <a:pt x="75" y="110"/>
                  </a:cubicBezTo>
                  <a:cubicBezTo>
                    <a:pt x="71" y="108"/>
                    <a:pt x="68" y="107"/>
                    <a:pt x="64" y="107"/>
                  </a:cubicBezTo>
                  <a:cubicBezTo>
                    <a:pt x="24" y="107"/>
                    <a:pt x="24" y="107"/>
                    <a:pt x="24" y="107"/>
                  </a:cubicBezTo>
                  <a:cubicBezTo>
                    <a:pt x="11" y="107"/>
                    <a:pt x="0" y="118"/>
                    <a:pt x="0" y="131"/>
                  </a:cubicBezTo>
                  <a:cubicBezTo>
                    <a:pt x="8" y="203"/>
                    <a:pt x="8" y="203"/>
                    <a:pt x="8" y="203"/>
                  </a:cubicBezTo>
                  <a:cubicBezTo>
                    <a:pt x="10" y="216"/>
                    <a:pt x="19" y="227"/>
                    <a:pt x="32" y="227"/>
                  </a:cubicBezTo>
                  <a:cubicBezTo>
                    <a:pt x="64" y="227"/>
                    <a:pt x="64" y="227"/>
                    <a:pt x="64" y="227"/>
                  </a:cubicBezTo>
                  <a:cubicBezTo>
                    <a:pt x="74" y="227"/>
                    <a:pt x="83" y="221"/>
                    <a:pt x="87" y="212"/>
                  </a:cubicBezTo>
                  <a:cubicBezTo>
                    <a:pt x="100" y="219"/>
                    <a:pt x="100" y="219"/>
                    <a:pt x="100" y="219"/>
                  </a:cubicBezTo>
                  <a:cubicBezTo>
                    <a:pt x="101" y="219"/>
                    <a:pt x="102" y="219"/>
                    <a:pt x="103" y="219"/>
                  </a:cubicBezTo>
                  <a:cubicBezTo>
                    <a:pt x="210" y="219"/>
                    <a:pt x="210" y="219"/>
                    <a:pt x="210" y="219"/>
                  </a:cubicBezTo>
                  <a:cubicBezTo>
                    <a:pt x="222" y="219"/>
                    <a:pt x="232" y="210"/>
                    <a:pt x="232" y="197"/>
                  </a:cubicBezTo>
                  <a:cubicBezTo>
                    <a:pt x="232" y="194"/>
                    <a:pt x="231" y="191"/>
                    <a:pt x="230" y="188"/>
                  </a:cubicBezTo>
                  <a:cubicBezTo>
                    <a:pt x="236" y="184"/>
                    <a:pt x="240" y="177"/>
                    <a:pt x="240" y="169"/>
                  </a:cubicBezTo>
                  <a:cubicBezTo>
                    <a:pt x="240" y="166"/>
                    <a:pt x="239" y="162"/>
                    <a:pt x="238" y="159"/>
                  </a:cubicBezTo>
                  <a:cubicBezTo>
                    <a:pt x="244" y="155"/>
                    <a:pt x="248" y="148"/>
                    <a:pt x="248" y="140"/>
                  </a:cubicBezTo>
                  <a:cubicBezTo>
                    <a:pt x="248" y="135"/>
                    <a:pt x="247" y="131"/>
                    <a:pt x="245" y="128"/>
                  </a:cubicBezTo>
                  <a:cubicBezTo>
                    <a:pt x="252" y="123"/>
                    <a:pt x="256" y="116"/>
                    <a:pt x="256" y="108"/>
                  </a:cubicBezTo>
                  <a:close/>
                  <a:moveTo>
                    <a:pt x="64" y="211"/>
                  </a:moveTo>
                  <a:cubicBezTo>
                    <a:pt x="32" y="211"/>
                    <a:pt x="32" y="211"/>
                    <a:pt x="32" y="211"/>
                  </a:cubicBezTo>
                  <a:cubicBezTo>
                    <a:pt x="28" y="211"/>
                    <a:pt x="25" y="206"/>
                    <a:pt x="24" y="202"/>
                  </a:cubicBezTo>
                  <a:cubicBezTo>
                    <a:pt x="16" y="131"/>
                    <a:pt x="16" y="131"/>
                    <a:pt x="16" y="131"/>
                  </a:cubicBezTo>
                  <a:cubicBezTo>
                    <a:pt x="17" y="127"/>
                    <a:pt x="20" y="123"/>
                    <a:pt x="24" y="123"/>
                  </a:cubicBezTo>
                  <a:cubicBezTo>
                    <a:pt x="64" y="123"/>
                    <a:pt x="64" y="123"/>
                    <a:pt x="64" y="123"/>
                  </a:cubicBezTo>
                  <a:cubicBezTo>
                    <a:pt x="69" y="123"/>
                    <a:pt x="72" y="127"/>
                    <a:pt x="72" y="131"/>
                  </a:cubicBezTo>
                  <a:cubicBezTo>
                    <a:pt x="72" y="198"/>
                    <a:pt x="72" y="198"/>
                    <a:pt x="72" y="198"/>
                  </a:cubicBezTo>
                  <a:cubicBezTo>
                    <a:pt x="72" y="199"/>
                    <a:pt x="72" y="200"/>
                    <a:pt x="72" y="201"/>
                  </a:cubicBezTo>
                  <a:cubicBezTo>
                    <a:pt x="72" y="203"/>
                    <a:pt x="72" y="203"/>
                    <a:pt x="72" y="203"/>
                  </a:cubicBezTo>
                  <a:cubicBezTo>
                    <a:pt x="72" y="208"/>
                    <a:pt x="69" y="211"/>
                    <a:pt x="64" y="211"/>
                  </a:cubicBezTo>
                  <a:close/>
                  <a:moveTo>
                    <a:pt x="210" y="203"/>
                  </a:moveTo>
                  <a:cubicBezTo>
                    <a:pt x="105" y="203"/>
                    <a:pt x="105" y="203"/>
                    <a:pt x="105" y="203"/>
                  </a:cubicBezTo>
                  <a:cubicBezTo>
                    <a:pt x="88" y="194"/>
                    <a:pt x="88" y="194"/>
                    <a:pt x="88" y="194"/>
                  </a:cubicBezTo>
                  <a:cubicBezTo>
                    <a:pt x="88" y="131"/>
                    <a:pt x="88" y="131"/>
                    <a:pt x="88" y="131"/>
                  </a:cubicBezTo>
                  <a:cubicBezTo>
                    <a:pt x="88" y="128"/>
                    <a:pt x="87" y="124"/>
                    <a:pt x="86" y="121"/>
                  </a:cubicBezTo>
                  <a:cubicBezTo>
                    <a:pt x="100" y="109"/>
                    <a:pt x="136" y="75"/>
                    <a:pt x="136" y="48"/>
                  </a:cubicBezTo>
                  <a:cubicBezTo>
                    <a:pt x="136" y="31"/>
                    <a:pt x="136" y="16"/>
                    <a:pt x="140" y="16"/>
                  </a:cubicBezTo>
                  <a:cubicBezTo>
                    <a:pt x="148" y="16"/>
                    <a:pt x="156" y="25"/>
                    <a:pt x="156" y="44"/>
                  </a:cubicBezTo>
                  <a:cubicBezTo>
                    <a:pt x="156" y="67"/>
                    <a:pt x="152" y="90"/>
                    <a:pt x="152" y="90"/>
                  </a:cubicBezTo>
                  <a:cubicBezTo>
                    <a:pt x="152" y="93"/>
                    <a:pt x="153" y="95"/>
                    <a:pt x="154" y="97"/>
                  </a:cubicBezTo>
                  <a:cubicBezTo>
                    <a:pt x="156" y="98"/>
                    <a:pt x="158" y="100"/>
                    <a:pt x="160" y="100"/>
                  </a:cubicBezTo>
                  <a:cubicBezTo>
                    <a:pt x="232" y="100"/>
                    <a:pt x="232" y="100"/>
                    <a:pt x="232" y="100"/>
                  </a:cubicBezTo>
                  <a:cubicBezTo>
                    <a:pt x="237" y="100"/>
                    <a:pt x="240" y="103"/>
                    <a:pt x="240" y="108"/>
                  </a:cubicBezTo>
                  <a:cubicBezTo>
                    <a:pt x="240" y="112"/>
                    <a:pt x="237" y="116"/>
                    <a:pt x="232" y="116"/>
                  </a:cubicBezTo>
                  <a:cubicBezTo>
                    <a:pt x="223" y="116"/>
                    <a:pt x="223" y="116"/>
                    <a:pt x="223" y="116"/>
                  </a:cubicBezTo>
                  <a:cubicBezTo>
                    <a:pt x="219" y="116"/>
                    <a:pt x="215" y="119"/>
                    <a:pt x="215" y="124"/>
                  </a:cubicBezTo>
                  <a:cubicBezTo>
                    <a:pt x="215" y="128"/>
                    <a:pt x="219" y="132"/>
                    <a:pt x="223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9" y="132"/>
                    <a:pt x="232" y="135"/>
                    <a:pt x="232" y="140"/>
                  </a:cubicBezTo>
                  <a:cubicBezTo>
                    <a:pt x="232" y="144"/>
                    <a:pt x="229" y="148"/>
                    <a:pt x="224" y="148"/>
                  </a:cubicBezTo>
                  <a:cubicBezTo>
                    <a:pt x="219" y="148"/>
                    <a:pt x="219" y="148"/>
                    <a:pt x="219" y="148"/>
                  </a:cubicBezTo>
                  <a:cubicBezTo>
                    <a:pt x="219" y="148"/>
                    <a:pt x="218" y="147"/>
                    <a:pt x="218" y="147"/>
                  </a:cubicBezTo>
                  <a:cubicBezTo>
                    <a:pt x="218" y="147"/>
                    <a:pt x="218" y="148"/>
                    <a:pt x="218" y="148"/>
                  </a:cubicBezTo>
                  <a:cubicBezTo>
                    <a:pt x="215" y="148"/>
                    <a:pt x="215" y="148"/>
                    <a:pt x="215" y="148"/>
                  </a:cubicBezTo>
                  <a:cubicBezTo>
                    <a:pt x="211" y="148"/>
                    <a:pt x="207" y="151"/>
                    <a:pt x="207" y="156"/>
                  </a:cubicBezTo>
                  <a:cubicBezTo>
                    <a:pt x="207" y="160"/>
                    <a:pt x="211" y="164"/>
                    <a:pt x="215" y="164"/>
                  </a:cubicBezTo>
                  <a:cubicBezTo>
                    <a:pt x="218" y="164"/>
                    <a:pt x="218" y="164"/>
                    <a:pt x="218" y="164"/>
                  </a:cubicBezTo>
                  <a:cubicBezTo>
                    <a:pt x="222" y="164"/>
                    <a:pt x="224" y="166"/>
                    <a:pt x="224" y="169"/>
                  </a:cubicBezTo>
                  <a:cubicBezTo>
                    <a:pt x="224" y="173"/>
                    <a:pt x="221" y="175"/>
                    <a:pt x="218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06" y="175"/>
                    <a:pt x="202" y="179"/>
                    <a:pt x="202" y="183"/>
                  </a:cubicBezTo>
                  <a:cubicBezTo>
                    <a:pt x="202" y="188"/>
                    <a:pt x="206" y="191"/>
                    <a:pt x="210" y="191"/>
                  </a:cubicBezTo>
                  <a:cubicBezTo>
                    <a:pt x="213" y="191"/>
                    <a:pt x="216" y="194"/>
                    <a:pt x="216" y="197"/>
                  </a:cubicBezTo>
                  <a:cubicBezTo>
                    <a:pt x="216" y="201"/>
                    <a:pt x="213" y="203"/>
                    <a:pt x="210" y="20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 b="1">
                <a:latin typeface="+mn-lt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412C0555-FD9A-0A47-FBA8-596EEB260578}"/>
              </a:ext>
            </a:extLst>
          </p:cNvPr>
          <p:cNvGrpSpPr/>
          <p:nvPr/>
        </p:nvGrpSpPr>
        <p:grpSpPr>
          <a:xfrm>
            <a:off x="886470" y="3721477"/>
            <a:ext cx="1002680" cy="1002634"/>
            <a:chOff x="3618856" y="2203534"/>
            <a:chExt cx="1068005" cy="1067956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D7208959-53E8-1631-8E90-AD959474356B}"/>
                </a:ext>
              </a:extLst>
            </p:cNvPr>
            <p:cNvSpPr/>
            <p:nvPr/>
          </p:nvSpPr>
          <p:spPr>
            <a:xfrm rot="5400000">
              <a:off x="3618881" y="2203509"/>
              <a:ext cx="1067956" cy="106800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1CC64604-EB6A-610A-7BAA-1A09C825B79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936317" y="2531394"/>
              <a:ext cx="433084" cy="412235"/>
              <a:chOff x="6719888" y="887413"/>
              <a:chExt cx="492125" cy="468312"/>
            </a:xfrm>
            <a:solidFill>
              <a:schemeClr val="bg1"/>
            </a:solidFill>
          </p:grpSpPr>
          <p:sp>
            <p:nvSpPr>
              <p:cNvPr id="33" name="Freeform 26">
                <a:extLst>
                  <a:ext uri="{FF2B5EF4-FFF2-40B4-BE49-F238E27FC236}">
                    <a16:creationId xmlns:a16="http://schemas.microsoft.com/office/drawing/2014/main" id="{0201E549-F6FB-335B-34F2-63D35E890A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19888" y="887413"/>
                <a:ext cx="492125" cy="468312"/>
              </a:xfrm>
              <a:custGeom>
                <a:avLst/>
                <a:gdLst>
                  <a:gd name="T0" fmla="*/ 117 w 128"/>
                  <a:gd name="T1" fmla="*/ 0 h 122"/>
                  <a:gd name="T2" fmla="*/ 11 w 128"/>
                  <a:gd name="T3" fmla="*/ 0 h 122"/>
                  <a:gd name="T4" fmla="*/ 0 w 128"/>
                  <a:gd name="T5" fmla="*/ 11 h 122"/>
                  <a:gd name="T6" fmla="*/ 0 w 128"/>
                  <a:gd name="T7" fmla="*/ 93 h 122"/>
                  <a:gd name="T8" fmla="*/ 11 w 128"/>
                  <a:gd name="T9" fmla="*/ 104 h 122"/>
                  <a:gd name="T10" fmla="*/ 43 w 128"/>
                  <a:gd name="T11" fmla="*/ 104 h 122"/>
                  <a:gd name="T12" fmla="*/ 38 w 128"/>
                  <a:gd name="T13" fmla="*/ 110 h 122"/>
                  <a:gd name="T14" fmla="*/ 35 w 128"/>
                  <a:gd name="T15" fmla="*/ 113 h 122"/>
                  <a:gd name="T16" fmla="*/ 34 w 128"/>
                  <a:gd name="T17" fmla="*/ 118 h 122"/>
                  <a:gd name="T18" fmla="*/ 42 w 128"/>
                  <a:gd name="T19" fmla="*/ 122 h 122"/>
                  <a:gd name="T20" fmla="*/ 86 w 128"/>
                  <a:gd name="T21" fmla="*/ 122 h 122"/>
                  <a:gd name="T22" fmla="*/ 94 w 128"/>
                  <a:gd name="T23" fmla="*/ 118 h 122"/>
                  <a:gd name="T24" fmla="*/ 94 w 128"/>
                  <a:gd name="T25" fmla="*/ 113 h 122"/>
                  <a:gd name="T26" fmla="*/ 91 w 128"/>
                  <a:gd name="T27" fmla="*/ 110 h 122"/>
                  <a:gd name="T28" fmla="*/ 85 w 128"/>
                  <a:gd name="T29" fmla="*/ 104 h 122"/>
                  <a:gd name="T30" fmla="*/ 117 w 128"/>
                  <a:gd name="T31" fmla="*/ 104 h 122"/>
                  <a:gd name="T32" fmla="*/ 128 w 128"/>
                  <a:gd name="T33" fmla="*/ 93 h 122"/>
                  <a:gd name="T34" fmla="*/ 128 w 128"/>
                  <a:gd name="T35" fmla="*/ 11 h 122"/>
                  <a:gd name="T36" fmla="*/ 117 w 128"/>
                  <a:gd name="T37" fmla="*/ 0 h 122"/>
                  <a:gd name="T38" fmla="*/ 88 w 128"/>
                  <a:gd name="T39" fmla="*/ 113 h 122"/>
                  <a:gd name="T40" fmla="*/ 90 w 128"/>
                  <a:gd name="T41" fmla="*/ 116 h 122"/>
                  <a:gd name="T42" fmla="*/ 90 w 128"/>
                  <a:gd name="T43" fmla="*/ 116 h 122"/>
                  <a:gd name="T44" fmla="*/ 86 w 128"/>
                  <a:gd name="T45" fmla="*/ 118 h 122"/>
                  <a:gd name="T46" fmla="*/ 42 w 128"/>
                  <a:gd name="T47" fmla="*/ 118 h 122"/>
                  <a:gd name="T48" fmla="*/ 38 w 128"/>
                  <a:gd name="T49" fmla="*/ 116 h 122"/>
                  <a:gd name="T50" fmla="*/ 38 w 128"/>
                  <a:gd name="T51" fmla="*/ 116 h 122"/>
                  <a:gd name="T52" fmla="*/ 38 w 128"/>
                  <a:gd name="T53" fmla="*/ 116 h 122"/>
                  <a:gd name="T54" fmla="*/ 40 w 128"/>
                  <a:gd name="T55" fmla="*/ 113 h 122"/>
                  <a:gd name="T56" fmla="*/ 48 w 128"/>
                  <a:gd name="T57" fmla="*/ 104 h 122"/>
                  <a:gd name="T58" fmla="*/ 80 w 128"/>
                  <a:gd name="T59" fmla="*/ 104 h 122"/>
                  <a:gd name="T60" fmla="*/ 88 w 128"/>
                  <a:gd name="T61" fmla="*/ 113 h 122"/>
                  <a:gd name="T62" fmla="*/ 120 w 128"/>
                  <a:gd name="T63" fmla="*/ 93 h 122"/>
                  <a:gd name="T64" fmla="*/ 117 w 128"/>
                  <a:gd name="T65" fmla="*/ 96 h 122"/>
                  <a:gd name="T66" fmla="*/ 11 w 128"/>
                  <a:gd name="T67" fmla="*/ 96 h 122"/>
                  <a:gd name="T68" fmla="*/ 8 w 128"/>
                  <a:gd name="T69" fmla="*/ 93 h 122"/>
                  <a:gd name="T70" fmla="*/ 8 w 128"/>
                  <a:gd name="T71" fmla="*/ 11 h 122"/>
                  <a:gd name="T72" fmla="*/ 11 w 128"/>
                  <a:gd name="T73" fmla="*/ 8 h 122"/>
                  <a:gd name="T74" fmla="*/ 117 w 128"/>
                  <a:gd name="T75" fmla="*/ 8 h 122"/>
                  <a:gd name="T76" fmla="*/ 120 w 128"/>
                  <a:gd name="T77" fmla="*/ 11 h 122"/>
                  <a:gd name="T78" fmla="*/ 120 w 128"/>
                  <a:gd name="T79" fmla="*/ 93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28" h="122">
                    <a:moveTo>
                      <a:pt x="117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93"/>
                      <a:pt x="0" y="93"/>
                      <a:pt x="0" y="93"/>
                    </a:cubicBezTo>
                    <a:cubicBezTo>
                      <a:pt x="0" y="99"/>
                      <a:pt x="5" y="104"/>
                      <a:pt x="11" y="104"/>
                    </a:cubicBezTo>
                    <a:cubicBezTo>
                      <a:pt x="43" y="104"/>
                      <a:pt x="43" y="104"/>
                      <a:pt x="43" y="104"/>
                    </a:cubicBezTo>
                    <a:cubicBezTo>
                      <a:pt x="42" y="106"/>
                      <a:pt x="39" y="109"/>
                      <a:pt x="38" y="110"/>
                    </a:cubicBezTo>
                    <a:cubicBezTo>
                      <a:pt x="36" y="111"/>
                      <a:pt x="35" y="112"/>
                      <a:pt x="35" y="113"/>
                    </a:cubicBezTo>
                    <a:cubicBezTo>
                      <a:pt x="34" y="114"/>
                      <a:pt x="33" y="116"/>
                      <a:pt x="34" y="118"/>
                    </a:cubicBezTo>
                    <a:cubicBezTo>
                      <a:pt x="35" y="120"/>
                      <a:pt x="37" y="122"/>
                      <a:pt x="42" y="122"/>
                    </a:cubicBezTo>
                    <a:cubicBezTo>
                      <a:pt x="86" y="122"/>
                      <a:pt x="86" y="122"/>
                      <a:pt x="86" y="122"/>
                    </a:cubicBezTo>
                    <a:cubicBezTo>
                      <a:pt x="91" y="122"/>
                      <a:pt x="93" y="120"/>
                      <a:pt x="94" y="118"/>
                    </a:cubicBezTo>
                    <a:cubicBezTo>
                      <a:pt x="95" y="116"/>
                      <a:pt x="95" y="114"/>
                      <a:pt x="94" y="113"/>
                    </a:cubicBezTo>
                    <a:cubicBezTo>
                      <a:pt x="93" y="112"/>
                      <a:pt x="92" y="111"/>
                      <a:pt x="91" y="110"/>
                    </a:cubicBezTo>
                    <a:cubicBezTo>
                      <a:pt x="89" y="109"/>
                      <a:pt x="87" y="106"/>
                      <a:pt x="85" y="104"/>
                    </a:cubicBezTo>
                    <a:cubicBezTo>
                      <a:pt x="117" y="104"/>
                      <a:pt x="117" y="104"/>
                      <a:pt x="117" y="104"/>
                    </a:cubicBezTo>
                    <a:cubicBezTo>
                      <a:pt x="123" y="104"/>
                      <a:pt x="128" y="99"/>
                      <a:pt x="128" y="93"/>
                    </a:cubicBezTo>
                    <a:cubicBezTo>
                      <a:pt x="128" y="11"/>
                      <a:pt x="128" y="11"/>
                      <a:pt x="128" y="11"/>
                    </a:cubicBezTo>
                    <a:cubicBezTo>
                      <a:pt x="128" y="5"/>
                      <a:pt x="123" y="0"/>
                      <a:pt x="117" y="0"/>
                    </a:cubicBezTo>
                    <a:close/>
                    <a:moveTo>
                      <a:pt x="88" y="113"/>
                    </a:moveTo>
                    <a:cubicBezTo>
                      <a:pt x="89" y="114"/>
                      <a:pt x="90" y="115"/>
                      <a:pt x="90" y="116"/>
                    </a:cubicBezTo>
                    <a:cubicBezTo>
                      <a:pt x="90" y="116"/>
                      <a:pt x="91" y="116"/>
                      <a:pt x="90" y="116"/>
                    </a:cubicBezTo>
                    <a:cubicBezTo>
                      <a:pt x="90" y="117"/>
                      <a:pt x="88" y="118"/>
                      <a:pt x="86" y="118"/>
                    </a:cubicBezTo>
                    <a:cubicBezTo>
                      <a:pt x="42" y="118"/>
                      <a:pt x="42" y="118"/>
                      <a:pt x="42" y="118"/>
                    </a:cubicBezTo>
                    <a:cubicBezTo>
                      <a:pt x="40" y="118"/>
                      <a:pt x="38" y="117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5"/>
                      <a:pt x="39" y="114"/>
                      <a:pt x="40" y="113"/>
                    </a:cubicBezTo>
                    <a:cubicBezTo>
                      <a:pt x="44" y="109"/>
                      <a:pt x="47" y="106"/>
                      <a:pt x="48" y="104"/>
                    </a:cubicBezTo>
                    <a:cubicBezTo>
                      <a:pt x="80" y="104"/>
                      <a:pt x="80" y="104"/>
                      <a:pt x="80" y="104"/>
                    </a:cubicBezTo>
                    <a:cubicBezTo>
                      <a:pt x="82" y="106"/>
                      <a:pt x="84" y="109"/>
                      <a:pt x="88" y="113"/>
                    </a:cubicBezTo>
                    <a:close/>
                    <a:moveTo>
                      <a:pt x="120" y="93"/>
                    </a:moveTo>
                    <a:cubicBezTo>
                      <a:pt x="120" y="95"/>
                      <a:pt x="119" y="96"/>
                      <a:pt x="117" y="96"/>
                    </a:cubicBezTo>
                    <a:cubicBezTo>
                      <a:pt x="11" y="96"/>
                      <a:pt x="11" y="96"/>
                      <a:pt x="11" y="96"/>
                    </a:cubicBezTo>
                    <a:cubicBezTo>
                      <a:pt x="9" y="96"/>
                      <a:pt x="8" y="95"/>
                      <a:pt x="8" y="93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9"/>
                      <a:pt x="9" y="8"/>
                      <a:pt x="11" y="8"/>
                    </a:cubicBezTo>
                    <a:cubicBezTo>
                      <a:pt x="117" y="8"/>
                      <a:pt x="117" y="8"/>
                      <a:pt x="117" y="8"/>
                    </a:cubicBezTo>
                    <a:cubicBezTo>
                      <a:pt x="119" y="8"/>
                      <a:pt x="120" y="9"/>
                      <a:pt x="120" y="11"/>
                    </a:cubicBezTo>
                    <a:lnTo>
                      <a:pt x="120" y="9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34" name="Freeform 27">
                <a:extLst>
                  <a:ext uri="{FF2B5EF4-FFF2-40B4-BE49-F238E27FC236}">
                    <a16:creationId xmlns:a16="http://schemas.microsoft.com/office/drawing/2014/main" id="{D7806203-F5B7-FA7E-69C5-640430CFC73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81801" y="947738"/>
                <a:ext cx="368300" cy="247650"/>
              </a:xfrm>
              <a:custGeom>
                <a:avLst/>
                <a:gdLst>
                  <a:gd name="T0" fmla="*/ 89 w 96"/>
                  <a:gd name="T1" fmla="*/ 0 h 64"/>
                  <a:gd name="T2" fmla="*/ 7 w 96"/>
                  <a:gd name="T3" fmla="*/ 0 h 64"/>
                  <a:gd name="T4" fmla="*/ 0 w 96"/>
                  <a:gd name="T5" fmla="*/ 7 h 64"/>
                  <a:gd name="T6" fmla="*/ 0 w 96"/>
                  <a:gd name="T7" fmla="*/ 57 h 64"/>
                  <a:gd name="T8" fmla="*/ 7 w 96"/>
                  <a:gd name="T9" fmla="*/ 64 h 64"/>
                  <a:gd name="T10" fmla="*/ 89 w 96"/>
                  <a:gd name="T11" fmla="*/ 64 h 64"/>
                  <a:gd name="T12" fmla="*/ 96 w 96"/>
                  <a:gd name="T13" fmla="*/ 57 h 64"/>
                  <a:gd name="T14" fmla="*/ 96 w 96"/>
                  <a:gd name="T15" fmla="*/ 7 h 64"/>
                  <a:gd name="T16" fmla="*/ 89 w 96"/>
                  <a:gd name="T17" fmla="*/ 0 h 64"/>
                  <a:gd name="T18" fmla="*/ 92 w 96"/>
                  <a:gd name="T19" fmla="*/ 57 h 64"/>
                  <a:gd name="T20" fmla="*/ 89 w 96"/>
                  <a:gd name="T21" fmla="*/ 60 h 64"/>
                  <a:gd name="T22" fmla="*/ 7 w 96"/>
                  <a:gd name="T23" fmla="*/ 60 h 64"/>
                  <a:gd name="T24" fmla="*/ 4 w 96"/>
                  <a:gd name="T25" fmla="*/ 57 h 64"/>
                  <a:gd name="T26" fmla="*/ 4 w 96"/>
                  <a:gd name="T27" fmla="*/ 7 h 64"/>
                  <a:gd name="T28" fmla="*/ 7 w 96"/>
                  <a:gd name="T29" fmla="*/ 4 h 64"/>
                  <a:gd name="T30" fmla="*/ 89 w 96"/>
                  <a:gd name="T31" fmla="*/ 4 h 64"/>
                  <a:gd name="T32" fmla="*/ 92 w 96"/>
                  <a:gd name="T33" fmla="*/ 7 h 64"/>
                  <a:gd name="T34" fmla="*/ 92 w 96"/>
                  <a:gd name="T35" fmla="*/ 57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6" h="64">
                    <a:moveTo>
                      <a:pt x="89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0" y="61"/>
                      <a:pt x="3" y="64"/>
                      <a:pt x="7" y="64"/>
                    </a:cubicBezTo>
                    <a:cubicBezTo>
                      <a:pt x="89" y="64"/>
                      <a:pt x="89" y="64"/>
                      <a:pt x="89" y="64"/>
                    </a:cubicBezTo>
                    <a:cubicBezTo>
                      <a:pt x="93" y="64"/>
                      <a:pt x="96" y="61"/>
                      <a:pt x="96" y="57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96" y="3"/>
                      <a:pt x="93" y="0"/>
                      <a:pt x="89" y="0"/>
                    </a:cubicBezTo>
                    <a:close/>
                    <a:moveTo>
                      <a:pt x="92" y="57"/>
                    </a:moveTo>
                    <a:cubicBezTo>
                      <a:pt x="92" y="59"/>
                      <a:pt x="91" y="60"/>
                      <a:pt x="89" y="60"/>
                    </a:cubicBezTo>
                    <a:cubicBezTo>
                      <a:pt x="7" y="60"/>
                      <a:pt x="7" y="60"/>
                      <a:pt x="7" y="60"/>
                    </a:cubicBezTo>
                    <a:cubicBezTo>
                      <a:pt x="5" y="60"/>
                      <a:pt x="4" y="59"/>
                      <a:pt x="4" y="5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5"/>
                      <a:pt x="5" y="4"/>
                      <a:pt x="7" y="4"/>
                    </a:cubicBezTo>
                    <a:cubicBezTo>
                      <a:pt x="89" y="4"/>
                      <a:pt x="89" y="4"/>
                      <a:pt x="89" y="4"/>
                    </a:cubicBezTo>
                    <a:cubicBezTo>
                      <a:pt x="91" y="4"/>
                      <a:pt x="92" y="5"/>
                      <a:pt x="92" y="7"/>
                    </a:cubicBezTo>
                    <a:lnTo>
                      <a:pt x="92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35" name="Freeform 28">
                <a:extLst>
                  <a:ext uri="{FF2B5EF4-FFF2-40B4-BE49-F238E27FC236}">
                    <a16:creationId xmlns:a16="http://schemas.microsoft.com/office/drawing/2014/main" id="{CA5748FF-4135-F179-E29A-D5FF53D81DC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43726" y="1201738"/>
                <a:ext cx="46038" cy="47625"/>
              </a:xfrm>
              <a:custGeom>
                <a:avLst/>
                <a:gdLst>
                  <a:gd name="T0" fmla="*/ 6 w 12"/>
                  <a:gd name="T1" fmla="*/ 0 h 12"/>
                  <a:gd name="T2" fmla="*/ 0 w 12"/>
                  <a:gd name="T3" fmla="*/ 6 h 12"/>
                  <a:gd name="T4" fmla="*/ 6 w 12"/>
                  <a:gd name="T5" fmla="*/ 12 h 12"/>
                  <a:gd name="T6" fmla="*/ 12 w 12"/>
                  <a:gd name="T7" fmla="*/ 6 h 12"/>
                  <a:gd name="T8" fmla="*/ 6 w 12"/>
                  <a:gd name="T9" fmla="*/ 0 h 12"/>
                  <a:gd name="T10" fmla="*/ 6 w 12"/>
                  <a:gd name="T11" fmla="*/ 8 h 12"/>
                  <a:gd name="T12" fmla="*/ 4 w 12"/>
                  <a:gd name="T13" fmla="*/ 6 h 12"/>
                  <a:gd name="T14" fmla="*/ 6 w 12"/>
                  <a:gd name="T15" fmla="*/ 4 h 12"/>
                  <a:gd name="T16" fmla="*/ 8 w 12"/>
                  <a:gd name="T17" fmla="*/ 6 h 12"/>
                  <a:gd name="T18" fmla="*/ 6 w 12"/>
                  <a:gd name="T19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cubicBezTo>
                      <a:pt x="3" y="0"/>
                      <a:pt x="0" y="3"/>
                      <a:pt x="0" y="6"/>
                    </a:cubicBezTo>
                    <a:cubicBezTo>
                      <a:pt x="0" y="9"/>
                      <a:pt x="3" y="12"/>
                      <a:pt x="6" y="12"/>
                    </a:cubicBezTo>
                    <a:cubicBezTo>
                      <a:pt x="9" y="12"/>
                      <a:pt x="12" y="9"/>
                      <a:pt x="12" y="6"/>
                    </a:cubicBezTo>
                    <a:cubicBezTo>
                      <a:pt x="12" y="3"/>
                      <a:pt x="9" y="0"/>
                      <a:pt x="6" y="0"/>
                    </a:cubicBezTo>
                    <a:close/>
                    <a:moveTo>
                      <a:pt x="6" y="8"/>
                    </a:moveTo>
                    <a:cubicBezTo>
                      <a:pt x="5" y="8"/>
                      <a:pt x="4" y="7"/>
                      <a:pt x="4" y="6"/>
                    </a:cubicBezTo>
                    <a:cubicBezTo>
                      <a:pt x="4" y="5"/>
                      <a:pt x="5" y="4"/>
                      <a:pt x="6" y="4"/>
                    </a:cubicBezTo>
                    <a:cubicBezTo>
                      <a:pt x="7" y="4"/>
                      <a:pt x="8" y="5"/>
                      <a:pt x="8" y="6"/>
                    </a:cubicBezTo>
                    <a:cubicBezTo>
                      <a:pt x="8" y="7"/>
                      <a:pt x="7" y="8"/>
                      <a:pt x="6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36" name="Freeform 29">
                <a:extLst>
                  <a:ext uri="{FF2B5EF4-FFF2-40B4-BE49-F238E27FC236}">
                    <a16:creationId xmlns:a16="http://schemas.microsoft.com/office/drawing/2014/main" id="{43E12517-AF06-3121-8BC6-B1ECA68900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81813" y="1044575"/>
                <a:ext cx="61913" cy="65087"/>
              </a:xfrm>
              <a:custGeom>
                <a:avLst/>
                <a:gdLst>
                  <a:gd name="T0" fmla="*/ 0 w 39"/>
                  <a:gd name="T1" fmla="*/ 24 h 41"/>
                  <a:gd name="T2" fmla="*/ 39 w 39"/>
                  <a:gd name="T3" fmla="*/ 41 h 41"/>
                  <a:gd name="T4" fmla="*/ 39 w 39"/>
                  <a:gd name="T5" fmla="*/ 32 h 41"/>
                  <a:gd name="T6" fmla="*/ 12 w 39"/>
                  <a:gd name="T7" fmla="*/ 19 h 41"/>
                  <a:gd name="T8" fmla="*/ 39 w 39"/>
                  <a:gd name="T9" fmla="*/ 10 h 41"/>
                  <a:gd name="T10" fmla="*/ 39 w 39"/>
                  <a:gd name="T11" fmla="*/ 0 h 41"/>
                  <a:gd name="T12" fmla="*/ 0 w 39"/>
                  <a:gd name="T13" fmla="*/ 17 h 41"/>
                  <a:gd name="T14" fmla="*/ 0 w 39"/>
                  <a:gd name="T15" fmla="*/ 24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41">
                    <a:moveTo>
                      <a:pt x="0" y="24"/>
                    </a:moveTo>
                    <a:lnTo>
                      <a:pt x="39" y="41"/>
                    </a:lnTo>
                    <a:lnTo>
                      <a:pt x="39" y="32"/>
                    </a:lnTo>
                    <a:lnTo>
                      <a:pt x="12" y="19"/>
                    </a:lnTo>
                    <a:lnTo>
                      <a:pt x="39" y="10"/>
                    </a:lnTo>
                    <a:lnTo>
                      <a:pt x="39" y="0"/>
                    </a:lnTo>
                    <a:lnTo>
                      <a:pt x="0" y="17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37" name="Freeform 30">
                <a:extLst>
                  <a:ext uri="{FF2B5EF4-FFF2-40B4-BE49-F238E27FC236}">
                    <a16:creationId xmlns:a16="http://schemas.microsoft.com/office/drawing/2014/main" id="{414BFDE9-D1A7-8EB8-4E77-9F32F2031A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0076" y="1033463"/>
                <a:ext cx="31750" cy="87312"/>
              </a:xfrm>
              <a:custGeom>
                <a:avLst/>
                <a:gdLst>
                  <a:gd name="T0" fmla="*/ 7 w 8"/>
                  <a:gd name="T1" fmla="*/ 0 h 23"/>
                  <a:gd name="T2" fmla="*/ 5 w 8"/>
                  <a:gd name="T3" fmla="*/ 0 h 23"/>
                  <a:gd name="T4" fmla="*/ 5 w 8"/>
                  <a:gd name="T5" fmla="*/ 2 h 23"/>
                  <a:gd name="T6" fmla="*/ 0 w 8"/>
                  <a:gd name="T7" fmla="*/ 20 h 23"/>
                  <a:gd name="T8" fmla="*/ 0 w 8"/>
                  <a:gd name="T9" fmla="*/ 22 h 23"/>
                  <a:gd name="T10" fmla="*/ 2 w 8"/>
                  <a:gd name="T11" fmla="*/ 23 h 23"/>
                  <a:gd name="T12" fmla="*/ 3 w 8"/>
                  <a:gd name="T13" fmla="*/ 23 h 23"/>
                  <a:gd name="T14" fmla="*/ 3 w 8"/>
                  <a:gd name="T15" fmla="*/ 22 h 23"/>
                  <a:gd name="T16" fmla="*/ 4 w 8"/>
                  <a:gd name="T17" fmla="*/ 21 h 23"/>
                  <a:gd name="T18" fmla="*/ 8 w 8"/>
                  <a:gd name="T19" fmla="*/ 3 h 23"/>
                  <a:gd name="T20" fmla="*/ 8 w 8"/>
                  <a:gd name="T21" fmla="*/ 1 h 23"/>
                  <a:gd name="T22" fmla="*/ 8 w 8"/>
                  <a:gd name="T23" fmla="*/ 0 h 23"/>
                  <a:gd name="T24" fmla="*/ 7 w 8"/>
                  <a:gd name="T2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" h="23">
                    <a:moveTo>
                      <a:pt x="7" y="0"/>
                    </a:moveTo>
                    <a:cubicBezTo>
                      <a:pt x="6" y="0"/>
                      <a:pt x="6" y="0"/>
                      <a:pt x="5" y="0"/>
                    </a:cubicBezTo>
                    <a:cubicBezTo>
                      <a:pt x="5" y="0"/>
                      <a:pt x="5" y="1"/>
                      <a:pt x="5" y="2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0" y="22"/>
                      <a:pt x="0" y="22"/>
                    </a:cubicBezTo>
                    <a:cubicBezTo>
                      <a:pt x="0" y="23"/>
                      <a:pt x="1" y="23"/>
                      <a:pt x="2" y="23"/>
                    </a:cubicBezTo>
                    <a:cubicBezTo>
                      <a:pt x="2" y="23"/>
                      <a:pt x="2" y="23"/>
                      <a:pt x="3" y="23"/>
                    </a:cubicBezTo>
                    <a:cubicBezTo>
                      <a:pt x="3" y="23"/>
                      <a:pt x="3" y="22"/>
                      <a:pt x="3" y="22"/>
                    </a:cubicBezTo>
                    <a:cubicBezTo>
                      <a:pt x="3" y="22"/>
                      <a:pt x="3" y="21"/>
                      <a:pt x="4" y="21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2"/>
                      <a:pt x="8" y="1"/>
                      <a:pt x="8" y="1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7" y="0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38" name="Freeform 31">
                <a:extLst>
                  <a:ext uri="{FF2B5EF4-FFF2-40B4-BE49-F238E27FC236}">
                    <a16:creationId xmlns:a16="http://schemas.microsoft.com/office/drawing/2014/main" id="{AECDD8E9-A37D-9531-66D0-25D3AFCF43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89763" y="1044575"/>
                <a:ext cx="60325" cy="65087"/>
              </a:xfrm>
              <a:custGeom>
                <a:avLst/>
                <a:gdLst>
                  <a:gd name="T0" fmla="*/ 0 w 38"/>
                  <a:gd name="T1" fmla="*/ 10 h 41"/>
                  <a:gd name="T2" fmla="*/ 26 w 38"/>
                  <a:gd name="T3" fmla="*/ 19 h 41"/>
                  <a:gd name="T4" fmla="*/ 0 w 38"/>
                  <a:gd name="T5" fmla="*/ 32 h 41"/>
                  <a:gd name="T6" fmla="*/ 0 w 38"/>
                  <a:gd name="T7" fmla="*/ 41 h 41"/>
                  <a:gd name="T8" fmla="*/ 38 w 38"/>
                  <a:gd name="T9" fmla="*/ 24 h 41"/>
                  <a:gd name="T10" fmla="*/ 38 w 38"/>
                  <a:gd name="T11" fmla="*/ 17 h 41"/>
                  <a:gd name="T12" fmla="*/ 0 w 38"/>
                  <a:gd name="T13" fmla="*/ 0 h 41"/>
                  <a:gd name="T14" fmla="*/ 0 w 38"/>
                  <a:gd name="T15" fmla="*/ 1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" h="41">
                    <a:moveTo>
                      <a:pt x="0" y="10"/>
                    </a:moveTo>
                    <a:lnTo>
                      <a:pt x="26" y="19"/>
                    </a:lnTo>
                    <a:lnTo>
                      <a:pt x="0" y="32"/>
                    </a:lnTo>
                    <a:lnTo>
                      <a:pt x="0" y="41"/>
                    </a:lnTo>
                    <a:lnTo>
                      <a:pt x="38" y="24"/>
                    </a:lnTo>
                    <a:lnTo>
                      <a:pt x="38" y="17"/>
                    </a:lnTo>
                    <a:lnTo>
                      <a:pt x="0" y="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DE8765D4-466B-67D1-23FE-DC9AA6FFF23C}"/>
              </a:ext>
            </a:extLst>
          </p:cNvPr>
          <p:cNvGrpSpPr/>
          <p:nvPr/>
        </p:nvGrpSpPr>
        <p:grpSpPr>
          <a:xfrm>
            <a:off x="886469" y="2448849"/>
            <a:ext cx="1002680" cy="1002634"/>
            <a:chOff x="2254021" y="1541715"/>
            <a:chExt cx="1068005" cy="1067956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FA10EB67-6373-E8BF-3AEE-8EF3C1CA2BC5}"/>
                </a:ext>
              </a:extLst>
            </p:cNvPr>
            <p:cNvSpPr/>
            <p:nvPr/>
          </p:nvSpPr>
          <p:spPr>
            <a:xfrm rot="5400000">
              <a:off x="2254046" y="1541690"/>
              <a:ext cx="1067956" cy="106800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77C49EC7-F0B1-2CC3-DFE3-A2DBB8A1B9D4}"/>
                </a:ext>
              </a:extLst>
            </p:cNvPr>
            <p:cNvGrpSpPr/>
            <p:nvPr/>
          </p:nvGrpSpPr>
          <p:grpSpPr>
            <a:xfrm>
              <a:off x="2471788" y="1862438"/>
              <a:ext cx="632472" cy="426508"/>
              <a:chOff x="6716027" y="5411634"/>
              <a:chExt cx="583964" cy="393797"/>
            </a:xfrm>
            <a:solidFill>
              <a:schemeClr val="bg1"/>
            </a:solidFill>
          </p:grpSpPr>
          <p:sp>
            <p:nvSpPr>
              <p:cNvPr id="42" name="Freeform 17">
                <a:extLst>
                  <a:ext uri="{FF2B5EF4-FFF2-40B4-BE49-F238E27FC236}">
                    <a16:creationId xmlns:a16="http://schemas.microsoft.com/office/drawing/2014/main" id="{E3EE2325-147E-88F6-0B24-24CD628C970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832931" y="5294730"/>
                <a:ext cx="350155" cy="583964"/>
              </a:xfrm>
              <a:custGeom>
                <a:avLst/>
                <a:gdLst>
                  <a:gd name="T0" fmla="*/ 50 w 184"/>
                  <a:gd name="T1" fmla="*/ 310 h 310"/>
                  <a:gd name="T2" fmla="*/ 32 w 184"/>
                  <a:gd name="T3" fmla="*/ 282 h 310"/>
                  <a:gd name="T4" fmla="*/ 10 w 184"/>
                  <a:gd name="T5" fmla="*/ 199 h 310"/>
                  <a:gd name="T6" fmla="*/ 39 w 184"/>
                  <a:gd name="T7" fmla="*/ 171 h 310"/>
                  <a:gd name="T8" fmla="*/ 30 w 184"/>
                  <a:gd name="T9" fmla="*/ 116 h 310"/>
                  <a:gd name="T10" fmla="*/ 36 w 184"/>
                  <a:gd name="T11" fmla="*/ 73 h 310"/>
                  <a:gd name="T12" fmla="*/ 36 w 184"/>
                  <a:gd name="T13" fmla="*/ 72 h 310"/>
                  <a:gd name="T14" fmla="*/ 92 w 184"/>
                  <a:gd name="T15" fmla="*/ 0 h 310"/>
                  <a:gd name="T16" fmla="*/ 148 w 184"/>
                  <a:gd name="T17" fmla="*/ 72 h 310"/>
                  <a:gd name="T18" fmla="*/ 148 w 184"/>
                  <a:gd name="T19" fmla="*/ 73 h 310"/>
                  <a:gd name="T20" fmla="*/ 155 w 184"/>
                  <a:gd name="T21" fmla="*/ 116 h 310"/>
                  <a:gd name="T22" fmla="*/ 145 w 184"/>
                  <a:gd name="T23" fmla="*/ 171 h 310"/>
                  <a:gd name="T24" fmla="*/ 174 w 184"/>
                  <a:gd name="T25" fmla="*/ 199 h 310"/>
                  <a:gd name="T26" fmla="*/ 153 w 184"/>
                  <a:gd name="T27" fmla="*/ 282 h 310"/>
                  <a:gd name="T28" fmla="*/ 134 w 184"/>
                  <a:gd name="T29" fmla="*/ 310 h 310"/>
                  <a:gd name="T30" fmla="*/ 134 w 184"/>
                  <a:gd name="T31" fmla="*/ 276 h 310"/>
                  <a:gd name="T32" fmla="*/ 118 w 184"/>
                  <a:gd name="T33" fmla="*/ 239 h 310"/>
                  <a:gd name="T34" fmla="*/ 118 w 184"/>
                  <a:gd name="T35" fmla="*/ 240 h 310"/>
                  <a:gd name="T36" fmla="*/ 115 w 184"/>
                  <a:gd name="T37" fmla="*/ 246 h 310"/>
                  <a:gd name="T38" fmla="*/ 108 w 184"/>
                  <a:gd name="T39" fmla="*/ 245 h 310"/>
                  <a:gd name="T40" fmla="*/ 76 w 184"/>
                  <a:gd name="T41" fmla="*/ 245 h 310"/>
                  <a:gd name="T42" fmla="*/ 69 w 184"/>
                  <a:gd name="T43" fmla="*/ 246 h 310"/>
                  <a:gd name="T44" fmla="*/ 66 w 184"/>
                  <a:gd name="T45" fmla="*/ 240 h 310"/>
                  <a:gd name="T46" fmla="*/ 66 w 184"/>
                  <a:gd name="T47" fmla="*/ 239 h 310"/>
                  <a:gd name="T48" fmla="*/ 50 w 184"/>
                  <a:gd name="T49" fmla="*/ 276 h 310"/>
                  <a:gd name="T50" fmla="*/ 50 w 184"/>
                  <a:gd name="T51" fmla="*/ 310 h 310"/>
                  <a:gd name="T52" fmla="*/ 55 w 184"/>
                  <a:gd name="T53" fmla="*/ 79 h 310"/>
                  <a:gd name="T54" fmla="*/ 50 w 184"/>
                  <a:gd name="T55" fmla="*/ 116 h 310"/>
                  <a:gd name="T56" fmla="*/ 61 w 184"/>
                  <a:gd name="T57" fmla="*/ 174 h 310"/>
                  <a:gd name="T58" fmla="*/ 64 w 184"/>
                  <a:gd name="T59" fmla="*/ 184 h 310"/>
                  <a:gd name="T60" fmla="*/ 54 w 184"/>
                  <a:gd name="T61" fmla="*/ 187 h 310"/>
                  <a:gd name="T62" fmla="*/ 29 w 184"/>
                  <a:gd name="T63" fmla="*/ 205 h 310"/>
                  <a:gd name="T64" fmla="*/ 36 w 184"/>
                  <a:gd name="T65" fmla="*/ 247 h 310"/>
                  <a:gd name="T66" fmla="*/ 65 w 184"/>
                  <a:gd name="T67" fmla="*/ 215 h 310"/>
                  <a:gd name="T68" fmla="*/ 74 w 184"/>
                  <a:gd name="T69" fmla="*/ 209 h 310"/>
                  <a:gd name="T70" fmla="*/ 79 w 184"/>
                  <a:gd name="T71" fmla="*/ 219 h 310"/>
                  <a:gd name="T72" fmla="*/ 82 w 184"/>
                  <a:gd name="T73" fmla="*/ 225 h 310"/>
                  <a:gd name="T74" fmla="*/ 103 w 184"/>
                  <a:gd name="T75" fmla="*/ 225 h 310"/>
                  <a:gd name="T76" fmla="*/ 105 w 184"/>
                  <a:gd name="T77" fmla="*/ 219 h 310"/>
                  <a:gd name="T78" fmla="*/ 110 w 184"/>
                  <a:gd name="T79" fmla="*/ 209 h 310"/>
                  <a:gd name="T80" fmla="*/ 120 w 184"/>
                  <a:gd name="T81" fmla="*/ 215 h 310"/>
                  <a:gd name="T82" fmla="*/ 148 w 184"/>
                  <a:gd name="T83" fmla="*/ 247 h 310"/>
                  <a:gd name="T84" fmla="*/ 155 w 184"/>
                  <a:gd name="T85" fmla="*/ 205 h 310"/>
                  <a:gd name="T86" fmla="*/ 130 w 184"/>
                  <a:gd name="T87" fmla="*/ 187 h 310"/>
                  <a:gd name="T88" fmla="*/ 120 w 184"/>
                  <a:gd name="T89" fmla="*/ 184 h 310"/>
                  <a:gd name="T90" fmla="*/ 123 w 184"/>
                  <a:gd name="T91" fmla="*/ 174 h 310"/>
                  <a:gd name="T92" fmla="*/ 135 w 184"/>
                  <a:gd name="T93" fmla="*/ 116 h 310"/>
                  <a:gd name="T94" fmla="*/ 129 w 184"/>
                  <a:gd name="T95" fmla="*/ 79 h 310"/>
                  <a:gd name="T96" fmla="*/ 92 w 184"/>
                  <a:gd name="T97" fmla="*/ 21 h 310"/>
                  <a:gd name="T98" fmla="*/ 55 w 184"/>
                  <a:gd name="T99" fmla="*/ 79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84" h="310">
                    <a:moveTo>
                      <a:pt x="50" y="310"/>
                    </a:moveTo>
                    <a:cubicBezTo>
                      <a:pt x="32" y="282"/>
                      <a:pt x="32" y="282"/>
                      <a:pt x="32" y="282"/>
                    </a:cubicBezTo>
                    <a:cubicBezTo>
                      <a:pt x="28" y="276"/>
                      <a:pt x="0" y="230"/>
                      <a:pt x="10" y="199"/>
                    </a:cubicBezTo>
                    <a:cubicBezTo>
                      <a:pt x="14" y="187"/>
                      <a:pt x="24" y="178"/>
                      <a:pt x="39" y="171"/>
                    </a:cubicBezTo>
                    <a:cubicBezTo>
                      <a:pt x="33" y="151"/>
                      <a:pt x="30" y="132"/>
                      <a:pt x="30" y="116"/>
                    </a:cubicBezTo>
                    <a:cubicBezTo>
                      <a:pt x="30" y="102"/>
                      <a:pt x="32" y="87"/>
                      <a:pt x="36" y="73"/>
                    </a:cubicBezTo>
                    <a:cubicBezTo>
                      <a:pt x="36" y="72"/>
                      <a:pt x="36" y="72"/>
                      <a:pt x="36" y="72"/>
                    </a:cubicBezTo>
                    <a:cubicBezTo>
                      <a:pt x="50" y="35"/>
                      <a:pt x="77" y="0"/>
                      <a:pt x="92" y="0"/>
                    </a:cubicBezTo>
                    <a:cubicBezTo>
                      <a:pt x="107" y="0"/>
                      <a:pt x="134" y="35"/>
                      <a:pt x="148" y="72"/>
                    </a:cubicBezTo>
                    <a:cubicBezTo>
                      <a:pt x="148" y="73"/>
                      <a:pt x="148" y="73"/>
                      <a:pt x="148" y="73"/>
                    </a:cubicBezTo>
                    <a:cubicBezTo>
                      <a:pt x="152" y="87"/>
                      <a:pt x="155" y="102"/>
                      <a:pt x="155" y="116"/>
                    </a:cubicBezTo>
                    <a:cubicBezTo>
                      <a:pt x="155" y="132"/>
                      <a:pt x="152" y="151"/>
                      <a:pt x="145" y="171"/>
                    </a:cubicBezTo>
                    <a:cubicBezTo>
                      <a:pt x="160" y="178"/>
                      <a:pt x="170" y="187"/>
                      <a:pt x="174" y="199"/>
                    </a:cubicBezTo>
                    <a:cubicBezTo>
                      <a:pt x="184" y="230"/>
                      <a:pt x="156" y="276"/>
                      <a:pt x="153" y="282"/>
                    </a:cubicBezTo>
                    <a:cubicBezTo>
                      <a:pt x="134" y="310"/>
                      <a:pt x="134" y="310"/>
                      <a:pt x="134" y="310"/>
                    </a:cubicBezTo>
                    <a:cubicBezTo>
                      <a:pt x="134" y="276"/>
                      <a:pt x="134" y="276"/>
                      <a:pt x="134" y="276"/>
                    </a:cubicBezTo>
                    <a:cubicBezTo>
                      <a:pt x="134" y="262"/>
                      <a:pt x="128" y="248"/>
                      <a:pt x="118" y="239"/>
                    </a:cubicBezTo>
                    <a:cubicBezTo>
                      <a:pt x="118" y="239"/>
                      <a:pt x="118" y="239"/>
                      <a:pt x="118" y="240"/>
                    </a:cubicBezTo>
                    <a:cubicBezTo>
                      <a:pt x="115" y="246"/>
                      <a:pt x="115" y="246"/>
                      <a:pt x="115" y="246"/>
                    </a:cubicBezTo>
                    <a:cubicBezTo>
                      <a:pt x="108" y="245"/>
                      <a:pt x="108" y="245"/>
                      <a:pt x="108" y="245"/>
                    </a:cubicBezTo>
                    <a:cubicBezTo>
                      <a:pt x="98" y="245"/>
                      <a:pt x="87" y="245"/>
                      <a:pt x="76" y="245"/>
                    </a:cubicBezTo>
                    <a:cubicBezTo>
                      <a:pt x="69" y="246"/>
                      <a:pt x="69" y="246"/>
                      <a:pt x="69" y="246"/>
                    </a:cubicBezTo>
                    <a:cubicBezTo>
                      <a:pt x="66" y="240"/>
                      <a:pt x="66" y="240"/>
                      <a:pt x="66" y="240"/>
                    </a:cubicBezTo>
                    <a:cubicBezTo>
                      <a:pt x="66" y="239"/>
                      <a:pt x="66" y="239"/>
                      <a:pt x="66" y="239"/>
                    </a:cubicBezTo>
                    <a:cubicBezTo>
                      <a:pt x="56" y="249"/>
                      <a:pt x="50" y="262"/>
                      <a:pt x="50" y="276"/>
                    </a:cubicBezTo>
                    <a:lnTo>
                      <a:pt x="50" y="310"/>
                    </a:lnTo>
                    <a:close/>
                    <a:moveTo>
                      <a:pt x="55" y="79"/>
                    </a:moveTo>
                    <a:cubicBezTo>
                      <a:pt x="52" y="91"/>
                      <a:pt x="50" y="104"/>
                      <a:pt x="50" y="116"/>
                    </a:cubicBezTo>
                    <a:cubicBezTo>
                      <a:pt x="50" y="132"/>
                      <a:pt x="53" y="152"/>
                      <a:pt x="61" y="174"/>
                    </a:cubicBezTo>
                    <a:cubicBezTo>
                      <a:pt x="64" y="184"/>
                      <a:pt x="64" y="184"/>
                      <a:pt x="64" y="184"/>
                    </a:cubicBezTo>
                    <a:cubicBezTo>
                      <a:pt x="54" y="187"/>
                      <a:pt x="54" y="187"/>
                      <a:pt x="54" y="187"/>
                    </a:cubicBezTo>
                    <a:cubicBezTo>
                      <a:pt x="45" y="190"/>
                      <a:pt x="33" y="196"/>
                      <a:pt x="29" y="205"/>
                    </a:cubicBezTo>
                    <a:cubicBezTo>
                      <a:pt x="26" y="216"/>
                      <a:pt x="30" y="233"/>
                      <a:pt x="36" y="247"/>
                    </a:cubicBezTo>
                    <a:cubicBezTo>
                      <a:pt x="42" y="234"/>
                      <a:pt x="52" y="223"/>
                      <a:pt x="65" y="215"/>
                    </a:cubicBezTo>
                    <a:cubicBezTo>
                      <a:pt x="74" y="209"/>
                      <a:pt x="74" y="209"/>
                      <a:pt x="74" y="209"/>
                    </a:cubicBezTo>
                    <a:cubicBezTo>
                      <a:pt x="79" y="219"/>
                      <a:pt x="79" y="219"/>
                      <a:pt x="79" y="219"/>
                    </a:cubicBezTo>
                    <a:cubicBezTo>
                      <a:pt x="80" y="221"/>
                      <a:pt x="81" y="223"/>
                      <a:pt x="82" y="225"/>
                    </a:cubicBezTo>
                    <a:cubicBezTo>
                      <a:pt x="89" y="225"/>
                      <a:pt x="96" y="225"/>
                      <a:pt x="103" y="225"/>
                    </a:cubicBezTo>
                    <a:cubicBezTo>
                      <a:pt x="104" y="223"/>
                      <a:pt x="105" y="221"/>
                      <a:pt x="105" y="219"/>
                    </a:cubicBezTo>
                    <a:cubicBezTo>
                      <a:pt x="110" y="209"/>
                      <a:pt x="110" y="209"/>
                      <a:pt x="110" y="209"/>
                    </a:cubicBezTo>
                    <a:cubicBezTo>
                      <a:pt x="120" y="215"/>
                      <a:pt x="120" y="215"/>
                      <a:pt x="120" y="215"/>
                    </a:cubicBezTo>
                    <a:cubicBezTo>
                      <a:pt x="133" y="223"/>
                      <a:pt x="142" y="234"/>
                      <a:pt x="148" y="247"/>
                    </a:cubicBezTo>
                    <a:cubicBezTo>
                      <a:pt x="154" y="233"/>
                      <a:pt x="159" y="216"/>
                      <a:pt x="155" y="205"/>
                    </a:cubicBezTo>
                    <a:cubicBezTo>
                      <a:pt x="152" y="196"/>
                      <a:pt x="140" y="190"/>
                      <a:pt x="130" y="187"/>
                    </a:cubicBezTo>
                    <a:cubicBezTo>
                      <a:pt x="120" y="184"/>
                      <a:pt x="120" y="184"/>
                      <a:pt x="120" y="184"/>
                    </a:cubicBezTo>
                    <a:cubicBezTo>
                      <a:pt x="123" y="174"/>
                      <a:pt x="123" y="174"/>
                      <a:pt x="123" y="174"/>
                    </a:cubicBezTo>
                    <a:cubicBezTo>
                      <a:pt x="131" y="152"/>
                      <a:pt x="135" y="132"/>
                      <a:pt x="135" y="116"/>
                    </a:cubicBezTo>
                    <a:cubicBezTo>
                      <a:pt x="135" y="104"/>
                      <a:pt x="133" y="91"/>
                      <a:pt x="129" y="79"/>
                    </a:cubicBezTo>
                    <a:cubicBezTo>
                      <a:pt x="117" y="47"/>
                      <a:pt x="99" y="26"/>
                      <a:pt x="92" y="21"/>
                    </a:cubicBezTo>
                    <a:cubicBezTo>
                      <a:pt x="85" y="26"/>
                      <a:pt x="67" y="47"/>
                      <a:pt x="55" y="7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43" name="Freeform 18">
                <a:extLst>
                  <a:ext uri="{FF2B5EF4-FFF2-40B4-BE49-F238E27FC236}">
                    <a16:creationId xmlns:a16="http://schemas.microsoft.com/office/drawing/2014/main" id="{E933365A-0EBD-589E-E651-D937C9D6F6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989613" y="5483631"/>
                <a:ext cx="121724" cy="120112"/>
              </a:xfrm>
              <a:custGeom>
                <a:avLst/>
                <a:gdLst>
                  <a:gd name="T0" fmla="*/ 32 w 64"/>
                  <a:gd name="T1" fmla="*/ 64 h 64"/>
                  <a:gd name="T2" fmla="*/ 0 w 64"/>
                  <a:gd name="T3" fmla="*/ 32 h 64"/>
                  <a:gd name="T4" fmla="*/ 32 w 64"/>
                  <a:gd name="T5" fmla="*/ 0 h 64"/>
                  <a:gd name="T6" fmla="*/ 64 w 64"/>
                  <a:gd name="T7" fmla="*/ 32 h 64"/>
                  <a:gd name="T8" fmla="*/ 32 w 64"/>
                  <a:gd name="T9" fmla="*/ 64 h 64"/>
                  <a:gd name="T10" fmla="*/ 32 w 64"/>
                  <a:gd name="T11" fmla="*/ 12 h 64"/>
                  <a:gd name="T12" fmla="*/ 12 w 64"/>
                  <a:gd name="T13" fmla="*/ 32 h 64"/>
                  <a:gd name="T14" fmla="*/ 32 w 64"/>
                  <a:gd name="T15" fmla="*/ 52 h 64"/>
                  <a:gd name="T16" fmla="*/ 52 w 64"/>
                  <a:gd name="T17" fmla="*/ 32 h 64"/>
                  <a:gd name="T18" fmla="*/ 32 w 64"/>
                  <a:gd name="T19" fmla="*/ 1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" h="64">
                    <a:moveTo>
                      <a:pt x="32" y="64"/>
                    </a:moveTo>
                    <a:cubicBezTo>
                      <a:pt x="14" y="64"/>
                      <a:pt x="0" y="50"/>
                      <a:pt x="0" y="32"/>
                    </a:cubicBezTo>
                    <a:cubicBezTo>
                      <a:pt x="0" y="14"/>
                      <a:pt x="14" y="0"/>
                      <a:pt x="32" y="0"/>
                    </a:cubicBezTo>
                    <a:cubicBezTo>
                      <a:pt x="50" y="0"/>
                      <a:pt x="64" y="14"/>
                      <a:pt x="64" y="32"/>
                    </a:cubicBezTo>
                    <a:cubicBezTo>
                      <a:pt x="64" y="50"/>
                      <a:pt x="50" y="64"/>
                      <a:pt x="32" y="64"/>
                    </a:cubicBezTo>
                    <a:close/>
                    <a:moveTo>
                      <a:pt x="32" y="12"/>
                    </a:moveTo>
                    <a:cubicBezTo>
                      <a:pt x="21" y="12"/>
                      <a:pt x="12" y="21"/>
                      <a:pt x="12" y="32"/>
                    </a:cubicBezTo>
                    <a:cubicBezTo>
                      <a:pt x="12" y="43"/>
                      <a:pt x="21" y="52"/>
                      <a:pt x="32" y="52"/>
                    </a:cubicBezTo>
                    <a:cubicBezTo>
                      <a:pt x="43" y="52"/>
                      <a:pt x="52" y="43"/>
                      <a:pt x="52" y="32"/>
                    </a:cubicBezTo>
                    <a:cubicBezTo>
                      <a:pt x="52" y="21"/>
                      <a:pt x="43" y="12"/>
                      <a:pt x="3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44" name="Freeform 19">
                <a:extLst>
                  <a:ext uri="{FF2B5EF4-FFF2-40B4-BE49-F238E27FC236}">
                    <a16:creationId xmlns:a16="http://schemas.microsoft.com/office/drawing/2014/main" id="{58DC3B4C-A9A4-2042-E02E-B1E09D35CB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700000">
                <a:off x="6790966" y="5660018"/>
                <a:ext cx="112239" cy="178587"/>
              </a:xfrm>
              <a:custGeom>
                <a:avLst/>
                <a:gdLst>
                  <a:gd name="T0" fmla="*/ 29 w 59"/>
                  <a:gd name="T1" fmla="*/ 95 h 95"/>
                  <a:gd name="T2" fmla="*/ 24 w 59"/>
                  <a:gd name="T3" fmla="*/ 85 h 95"/>
                  <a:gd name="T4" fmla="*/ 0 w 59"/>
                  <a:gd name="T5" fmla="*/ 26 h 95"/>
                  <a:gd name="T6" fmla="*/ 29 w 59"/>
                  <a:gd name="T7" fmla="*/ 0 h 95"/>
                  <a:gd name="T8" fmla="*/ 59 w 59"/>
                  <a:gd name="T9" fmla="*/ 26 h 95"/>
                  <a:gd name="T10" fmla="*/ 34 w 59"/>
                  <a:gd name="T11" fmla="*/ 85 h 95"/>
                  <a:gd name="T12" fmla="*/ 29 w 59"/>
                  <a:gd name="T13" fmla="*/ 95 h 95"/>
                  <a:gd name="T14" fmla="*/ 29 w 59"/>
                  <a:gd name="T15" fmla="*/ 12 h 95"/>
                  <a:gd name="T16" fmla="*/ 12 w 59"/>
                  <a:gd name="T17" fmla="*/ 26 h 95"/>
                  <a:gd name="T18" fmla="*/ 29 w 59"/>
                  <a:gd name="T19" fmla="*/ 69 h 95"/>
                  <a:gd name="T20" fmla="*/ 47 w 59"/>
                  <a:gd name="T21" fmla="*/ 26 h 95"/>
                  <a:gd name="T22" fmla="*/ 29 w 59"/>
                  <a:gd name="T23" fmla="*/ 12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" h="95">
                    <a:moveTo>
                      <a:pt x="29" y="95"/>
                    </a:moveTo>
                    <a:cubicBezTo>
                      <a:pt x="24" y="85"/>
                      <a:pt x="24" y="85"/>
                      <a:pt x="24" y="85"/>
                    </a:cubicBezTo>
                    <a:cubicBezTo>
                      <a:pt x="20" y="77"/>
                      <a:pt x="0" y="38"/>
                      <a:pt x="0" y="26"/>
                    </a:cubicBezTo>
                    <a:cubicBezTo>
                      <a:pt x="0" y="12"/>
                      <a:pt x="13" y="0"/>
                      <a:pt x="29" y="0"/>
                    </a:cubicBezTo>
                    <a:cubicBezTo>
                      <a:pt x="45" y="0"/>
                      <a:pt x="59" y="12"/>
                      <a:pt x="59" y="26"/>
                    </a:cubicBezTo>
                    <a:cubicBezTo>
                      <a:pt x="59" y="38"/>
                      <a:pt x="39" y="77"/>
                      <a:pt x="34" y="85"/>
                    </a:cubicBezTo>
                    <a:lnTo>
                      <a:pt x="29" y="95"/>
                    </a:lnTo>
                    <a:close/>
                    <a:moveTo>
                      <a:pt x="29" y="12"/>
                    </a:moveTo>
                    <a:cubicBezTo>
                      <a:pt x="19" y="12"/>
                      <a:pt x="12" y="18"/>
                      <a:pt x="12" y="26"/>
                    </a:cubicBezTo>
                    <a:cubicBezTo>
                      <a:pt x="12" y="31"/>
                      <a:pt x="20" y="50"/>
                      <a:pt x="29" y="69"/>
                    </a:cubicBezTo>
                    <a:cubicBezTo>
                      <a:pt x="38" y="50"/>
                      <a:pt x="47" y="31"/>
                      <a:pt x="47" y="26"/>
                    </a:cubicBezTo>
                    <a:cubicBezTo>
                      <a:pt x="47" y="18"/>
                      <a:pt x="39" y="12"/>
                      <a:pt x="29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84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D9A66B18-126D-CD12-67EB-C921A74D62B9}"/>
              </a:ext>
            </a:extLst>
          </p:cNvPr>
          <p:cNvGrpSpPr/>
          <p:nvPr/>
        </p:nvGrpSpPr>
        <p:grpSpPr>
          <a:xfrm>
            <a:off x="1881450" y="1655379"/>
            <a:ext cx="1002680" cy="1002634"/>
            <a:chOff x="876630" y="2203535"/>
            <a:chExt cx="1068005" cy="1067956"/>
          </a:xfrm>
        </p:grpSpPr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85EDCC5-843C-8B54-6A96-8A3C8F36BDFC}"/>
                </a:ext>
              </a:extLst>
            </p:cNvPr>
            <p:cNvSpPr/>
            <p:nvPr/>
          </p:nvSpPr>
          <p:spPr>
            <a:xfrm rot="5400000">
              <a:off x="876655" y="2203510"/>
              <a:ext cx="1067956" cy="106800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sp>
          <p:nvSpPr>
            <p:cNvPr id="47" name="Freeform 23">
              <a:extLst>
                <a:ext uri="{FF2B5EF4-FFF2-40B4-BE49-F238E27FC236}">
                  <a16:creationId xmlns:a16="http://schemas.microsoft.com/office/drawing/2014/main" id="{868C9D42-D824-EA81-8721-A217BB3D9A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0477" y="2489408"/>
              <a:ext cx="560312" cy="496208"/>
            </a:xfrm>
            <a:custGeom>
              <a:avLst/>
              <a:gdLst>
                <a:gd name="T0" fmla="*/ 232 w 256"/>
                <a:gd name="T1" fmla="*/ 84 h 227"/>
                <a:gd name="T2" fmla="*/ 172 w 256"/>
                <a:gd name="T3" fmla="*/ 44 h 227"/>
                <a:gd name="T4" fmla="*/ 120 w 256"/>
                <a:gd name="T5" fmla="*/ 48 h 227"/>
                <a:gd name="T6" fmla="*/ 64 w 256"/>
                <a:gd name="T7" fmla="*/ 107 h 227"/>
                <a:gd name="T8" fmla="*/ 0 w 256"/>
                <a:gd name="T9" fmla="*/ 131 h 227"/>
                <a:gd name="T10" fmla="*/ 32 w 256"/>
                <a:gd name="T11" fmla="*/ 227 h 227"/>
                <a:gd name="T12" fmla="*/ 87 w 256"/>
                <a:gd name="T13" fmla="*/ 212 h 227"/>
                <a:gd name="T14" fmla="*/ 103 w 256"/>
                <a:gd name="T15" fmla="*/ 219 h 227"/>
                <a:gd name="T16" fmla="*/ 232 w 256"/>
                <a:gd name="T17" fmla="*/ 197 h 227"/>
                <a:gd name="T18" fmla="*/ 240 w 256"/>
                <a:gd name="T19" fmla="*/ 169 h 227"/>
                <a:gd name="T20" fmla="*/ 248 w 256"/>
                <a:gd name="T21" fmla="*/ 140 h 227"/>
                <a:gd name="T22" fmla="*/ 256 w 256"/>
                <a:gd name="T23" fmla="*/ 108 h 227"/>
                <a:gd name="T24" fmla="*/ 32 w 256"/>
                <a:gd name="T25" fmla="*/ 211 h 227"/>
                <a:gd name="T26" fmla="*/ 16 w 256"/>
                <a:gd name="T27" fmla="*/ 131 h 227"/>
                <a:gd name="T28" fmla="*/ 64 w 256"/>
                <a:gd name="T29" fmla="*/ 123 h 227"/>
                <a:gd name="T30" fmla="*/ 72 w 256"/>
                <a:gd name="T31" fmla="*/ 198 h 227"/>
                <a:gd name="T32" fmla="*/ 72 w 256"/>
                <a:gd name="T33" fmla="*/ 203 h 227"/>
                <a:gd name="T34" fmla="*/ 210 w 256"/>
                <a:gd name="T35" fmla="*/ 203 h 227"/>
                <a:gd name="T36" fmla="*/ 88 w 256"/>
                <a:gd name="T37" fmla="*/ 194 h 227"/>
                <a:gd name="T38" fmla="*/ 86 w 256"/>
                <a:gd name="T39" fmla="*/ 121 h 227"/>
                <a:gd name="T40" fmla="*/ 140 w 256"/>
                <a:gd name="T41" fmla="*/ 16 h 227"/>
                <a:gd name="T42" fmla="*/ 152 w 256"/>
                <a:gd name="T43" fmla="*/ 90 h 227"/>
                <a:gd name="T44" fmla="*/ 160 w 256"/>
                <a:gd name="T45" fmla="*/ 100 h 227"/>
                <a:gd name="T46" fmla="*/ 240 w 256"/>
                <a:gd name="T47" fmla="*/ 108 h 227"/>
                <a:gd name="T48" fmla="*/ 223 w 256"/>
                <a:gd name="T49" fmla="*/ 116 h 227"/>
                <a:gd name="T50" fmla="*/ 223 w 256"/>
                <a:gd name="T51" fmla="*/ 132 h 227"/>
                <a:gd name="T52" fmla="*/ 224 w 256"/>
                <a:gd name="T53" fmla="*/ 132 h 227"/>
                <a:gd name="T54" fmla="*/ 224 w 256"/>
                <a:gd name="T55" fmla="*/ 148 h 227"/>
                <a:gd name="T56" fmla="*/ 218 w 256"/>
                <a:gd name="T57" fmla="*/ 147 h 227"/>
                <a:gd name="T58" fmla="*/ 215 w 256"/>
                <a:gd name="T59" fmla="*/ 148 h 227"/>
                <a:gd name="T60" fmla="*/ 215 w 256"/>
                <a:gd name="T61" fmla="*/ 164 h 227"/>
                <a:gd name="T62" fmla="*/ 224 w 256"/>
                <a:gd name="T63" fmla="*/ 169 h 227"/>
                <a:gd name="T64" fmla="*/ 210 w 256"/>
                <a:gd name="T65" fmla="*/ 175 h 227"/>
                <a:gd name="T66" fmla="*/ 210 w 256"/>
                <a:gd name="T67" fmla="*/ 175 h 227"/>
                <a:gd name="T68" fmla="*/ 210 w 256"/>
                <a:gd name="T69" fmla="*/ 191 h 227"/>
                <a:gd name="T70" fmla="*/ 210 w 256"/>
                <a:gd name="T71" fmla="*/ 20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6" h="227">
                  <a:moveTo>
                    <a:pt x="256" y="108"/>
                  </a:moveTo>
                  <a:cubicBezTo>
                    <a:pt x="256" y="94"/>
                    <a:pt x="245" y="84"/>
                    <a:pt x="232" y="84"/>
                  </a:cubicBezTo>
                  <a:cubicBezTo>
                    <a:pt x="169" y="84"/>
                    <a:pt x="169" y="84"/>
                    <a:pt x="169" y="84"/>
                  </a:cubicBezTo>
                  <a:cubicBezTo>
                    <a:pt x="171" y="74"/>
                    <a:pt x="172" y="59"/>
                    <a:pt x="172" y="44"/>
                  </a:cubicBezTo>
                  <a:cubicBezTo>
                    <a:pt x="172" y="13"/>
                    <a:pt x="156" y="0"/>
                    <a:pt x="140" y="0"/>
                  </a:cubicBezTo>
                  <a:cubicBezTo>
                    <a:pt x="120" y="0"/>
                    <a:pt x="120" y="21"/>
                    <a:pt x="120" y="48"/>
                  </a:cubicBezTo>
                  <a:cubicBezTo>
                    <a:pt x="120" y="67"/>
                    <a:pt x="90" y="97"/>
                    <a:pt x="75" y="110"/>
                  </a:cubicBezTo>
                  <a:cubicBezTo>
                    <a:pt x="71" y="108"/>
                    <a:pt x="68" y="107"/>
                    <a:pt x="64" y="107"/>
                  </a:cubicBezTo>
                  <a:cubicBezTo>
                    <a:pt x="24" y="107"/>
                    <a:pt x="24" y="107"/>
                    <a:pt x="24" y="107"/>
                  </a:cubicBezTo>
                  <a:cubicBezTo>
                    <a:pt x="11" y="107"/>
                    <a:pt x="0" y="118"/>
                    <a:pt x="0" y="131"/>
                  </a:cubicBezTo>
                  <a:cubicBezTo>
                    <a:pt x="8" y="203"/>
                    <a:pt x="8" y="203"/>
                    <a:pt x="8" y="203"/>
                  </a:cubicBezTo>
                  <a:cubicBezTo>
                    <a:pt x="10" y="216"/>
                    <a:pt x="19" y="227"/>
                    <a:pt x="32" y="227"/>
                  </a:cubicBezTo>
                  <a:cubicBezTo>
                    <a:pt x="64" y="227"/>
                    <a:pt x="64" y="227"/>
                    <a:pt x="64" y="227"/>
                  </a:cubicBezTo>
                  <a:cubicBezTo>
                    <a:pt x="74" y="227"/>
                    <a:pt x="83" y="221"/>
                    <a:pt x="87" y="212"/>
                  </a:cubicBezTo>
                  <a:cubicBezTo>
                    <a:pt x="100" y="219"/>
                    <a:pt x="100" y="219"/>
                    <a:pt x="100" y="219"/>
                  </a:cubicBezTo>
                  <a:cubicBezTo>
                    <a:pt x="101" y="219"/>
                    <a:pt x="102" y="219"/>
                    <a:pt x="103" y="219"/>
                  </a:cubicBezTo>
                  <a:cubicBezTo>
                    <a:pt x="210" y="219"/>
                    <a:pt x="210" y="219"/>
                    <a:pt x="210" y="219"/>
                  </a:cubicBezTo>
                  <a:cubicBezTo>
                    <a:pt x="222" y="219"/>
                    <a:pt x="232" y="210"/>
                    <a:pt x="232" y="197"/>
                  </a:cubicBezTo>
                  <a:cubicBezTo>
                    <a:pt x="232" y="194"/>
                    <a:pt x="231" y="191"/>
                    <a:pt x="230" y="188"/>
                  </a:cubicBezTo>
                  <a:cubicBezTo>
                    <a:pt x="236" y="184"/>
                    <a:pt x="240" y="177"/>
                    <a:pt x="240" y="169"/>
                  </a:cubicBezTo>
                  <a:cubicBezTo>
                    <a:pt x="240" y="166"/>
                    <a:pt x="239" y="162"/>
                    <a:pt x="238" y="159"/>
                  </a:cubicBezTo>
                  <a:cubicBezTo>
                    <a:pt x="244" y="155"/>
                    <a:pt x="248" y="148"/>
                    <a:pt x="248" y="140"/>
                  </a:cubicBezTo>
                  <a:cubicBezTo>
                    <a:pt x="248" y="135"/>
                    <a:pt x="247" y="131"/>
                    <a:pt x="245" y="128"/>
                  </a:cubicBezTo>
                  <a:cubicBezTo>
                    <a:pt x="252" y="123"/>
                    <a:pt x="256" y="116"/>
                    <a:pt x="256" y="108"/>
                  </a:cubicBezTo>
                  <a:close/>
                  <a:moveTo>
                    <a:pt x="64" y="211"/>
                  </a:moveTo>
                  <a:cubicBezTo>
                    <a:pt x="32" y="211"/>
                    <a:pt x="32" y="211"/>
                    <a:pt x="32" y="211"/>
                  </a:cubicBezTo>
                  <a:cubicBezTo>
                    <a:pt x="28" y="211"/>
                    <a:pt x="25" y="206"/>
                    <a:pt x="24" y="202"/>
                  </a:cubicBezTo>
                  <a:cubicBezTo>
                    <a:pt x="16" y="131"/>
                    <a:pt x="16" y="131"/>
                    <a:pt x="16" y="131"/>
                  </a:cubicBezTo>
                  <a:cubicBezTo>
                    <a:pt x="17" y="127"/>
                    <a:pt x="20" y="123"/>
                    <a:pt x="24" y="123"/>
                  </a:cubicBezTo>
                  <a:cubicBezTo>
                    <a:pt x="64" y="123"/>
                    <a:pt x="64" y="123"/>
                    <a:pt x="64" y="123"/>
                  </a:cubicBezTo>
                  <a:cubicBezTo>
                    <a:pt x="69" y="123"/>
                    <a:pt x="72" y="127"/>
                    <a:pt x="72" y="131"/>
                  </a:cubicBezTo>
                  <a:cubicBezTo>
                    <a:pt x="72" y="198"/>
                    <a:pt x="72" y="198"/>
                    <a:pt x="72" y="198"/>
                  </a:cubicBezTo>
                  <a:cubicBezTo>
                    <a:pt x="72" y="199"/>
                    <a:pt x="72" y="200"/>
                    <a:pt x="72" y="201"/>
                  </a:cubicBezTo>
                  <a:cubicBezTo>
                    <a:pt x="72" y="203"/>
                    <a:pt x="72" y="203"/>
                    <a:pt x="72" y="203"/>
                  </a:cubicBezTo>
                  <a:cubicBezTo>
                    <a:pt x="72" y="208"/>
                    <a:pt x="69" y="211"/>
                    <a:pt x="64" y="211"/>
                  </a:cubicBezTo>
                  <a:close/>
                  <a:moveTo>
                    <a:pt x="210" y="203"/>
                  </a:moveTo>
                  <a:cubicBezTo>
                    <a:pt x="105" y="203"/>
                    <a:pt x="105" y="203"/>
                    <a:pt x="105" y="203"/>
                  </a:cubicBezTo>
                  <a:cubicBezTo>
                    <a:pt x="88" y="194"/>
                    <a:pt x="88" y="194"/>
                    <a:pt x="88" y="194"/>
                  </a:cubicBezTo>
                  <a:cubicBezTo>
                    <a:pt x="88" y="131"/>
                    <a:pt x="88" y="131"/>
                    <a:pt x="88" y="131"/>
                  </a:cubicBezTo>
                  <a:cubicBezTo>
                    <a:pt x="88" y="128"/>
                    <a:pt x="87" y="124"/>
                    <a:pt x="86" y="121"/>
                  </a:cubicBezTo>
                  <a:cubicBezTo>
                    <a:pt x="100" y="109"/>
                    <a:pt x="136" y="75"/>
                    <a:pt x="136" y="48"/>
                  </a:cubicBezTo>
                  <a:cubicBezTo>
                    <a:pt x="136" y="31"/>
                    <a:pt x="136" y="16"/>
                    <a:pt x="140" y="16"/>
                  </a:cubicBezTo>
                  <a:cubicBezTo>
                    <a:pt x="148" y="16"/>
                    <a:pt x="156" y="25"/>
                    <a:pt x="156" y="44"/>
                  </a:cubicBezTo>
                  <a:cubicBezTo>
                    <a:pt x="156" y="67"/>
                    <a:pt x="152" y="90"/>
                    <a:pt x="152" y="90"/>
                  </a:cubicBezTo>
                  <a:cubicBezTo>
                    <a:pt x="152" y="93"/>
                    <a:pt x="153" y="95"/>
                    <a:pt x="154" y="97"/>
                  </a:cubicBezTo>
                  <a:cubicBezTo>
                    <a:pt x="156" y="98"/>
                    <a:pt x="158" y="100"/>
                    <a:pt x="160" y="100"/>
                  </a:cubicBezTo>
                  <a:cubicBezTo>
                    <a:pt x="232" y="100"/>
                    <a:pt x="232" y="100"/>
                    <a:pt x="232" y="100"/>
                  </a:cubicBezTo>
                  <a:cubicBezTo>
                    <a:pt x="237" y="100"/>
                    <a:pt x="240" y="103"/>
                    <a:pt x="240" y="108"/>
                  </a:cubicBezTo>
                  <a:cubicBezTo>
                    <a:pt x="240" y="112"/>
                    <a:pt x="237" y="116"/>
                    <a:pt x="232" y="116"/>
                  </a:cubicBezTo>
                  <a:cubicBezTo>
                    <a:pt x="223" y="116"/>
                    <a:pt x="223" y="116"/>
                    <a:pt x="223" y="116"/>
                  </a:cubicBezTo>
                  <a:cubicBezTo>
                    <a:pt x="219" y="116"/>
                    <a:pt x="215" y="119"/>
                    <a:pt x="215" y="124"/>
                  </a:cubicBezTo>
                  <a:cubicBezTo>
                    <a:pt x="215" y="128"/>
                    <a:pt x="219" y="132"/>
                    <a:pt x="223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4" y="132"/>
                    <a:pt x="224" y="132"/>
                    <a:pt x="224" y="132"/>
                  </a:cubicBezTo>
                  <a:cubicBezTo>
                    <a:pt x="229" y="132"/>
                    <a:pt x="232" y="135"/>
                    <a:pt x="232" y="140"/>
                  </a:cubicBezTo>
                  <a:cubicBezTo>
                    <a:pt x="232" y="144"/>
                    <a:pt x="229" y="148"/>
                    <a:pt x="224" y="148"/>
                  </a:cubicBezTo>
                  <a:cubicBezTo>
                    <a:pt x="219" y="148"/>
                    <a:pt x="219" y="148"/>
                    <a:pt x="219" y="148"/>
                  </a:cubicBezTo>
                  <a:cubicBezTo>
                    <a:pt x="219" y="148"/>
                    <a:pt x="218" y="147"/>
                    <a:pt x="218" y="147"/>
                  </a:cubicBezTo>
                  <a:cubicBezTo>
                    <a:pt x="218" y="147"/>
                    <a:pt x="218" y="148"/>
                    <a:pt x="218" y="148"/>
                  </a:cubicBezTo>
                  <a:cubicBezTo>
                    <a:pt x="215" y="148"/>
                    <a:pt x="215" y="148"/>
                    <a:pt x="215" y="148"/>
                  </a:cubicBezTo>
                  <a:cubicBezTo>
                    <a:pt x="211" y="148"/>
                    <a:pt x="207" y="151"/>
                    <a:pt x="207" y="156"/>
                  </a:cubicBezTo>
                  <a:cubicBezTo>
                    <a:pt x="207" y="160"/>
                    <a:pt x="211" y="164"/>
                    <a:pt x="215" y="164"/>
                  </a:cubicBezTo>
                  <a:cubicBezTo>
                    <a:pt x="218" y="164"/>
                    <a:pt x="218" y="164"/>
                    <a:pt x="218" y="164"/>
                  </a:cubicBezTo>
                  <a:cubicBezTo>
                    <a:pt x="222" y="164"/>
                    <a:pt x="224" y="166"/>
                    <a:pt x="224" y="169"/>
                  </a:cubicBezTo>
                  <a:cubicBezTo>
                    <a:pt x="224" y="173"/>
                    <a:pt x="221" y="175"/>
                    <a:pt x="218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06" y="175"/>
                    <a:pt x="202" y="179"/>
                    <a:pt x="202" y="183"/>
                  </a:cubicBezTo>
                  <a:cubicBezTo>
                    <a:pt x="202" y="188"/>
                    <a:pt x="206" y="191"/>
                    <a:pt x="210" y="191"/>
                  </a:cubicBezTo>
                  <a:cubicBezTo>
                    <a:pt x="213" y="191"/>
                    <a:pt x="216" y="194"/>
                    <a:pt x="216" y="197"/>
                  </a:cubicBezTo>
                  <a:cubicBezTo>
                    <a:pt x="216" y="201"/>
                    <a:pt x="213" y="203"/>
                    <a:pt x="210" y="20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840" b="1">
                <a:latin typeface="+mn-lt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F1BC7C37-7CDD-AB04-1B80-15DF279E8AA7}"/>
              </a:ext>
            </a:extLst>
          </p:cNvPr>
          <p:cNvGrpSpPr/>
          <p:nvPr/>
        </p:nvGrpSpPr>
        <p:grpSpPr>
          <a:xfrm>
            <a:off x="3674342" y="3085163"/>
            <a:ext cx="1002679" cy="1002629"/>
            <a:chOff x="2241396" y="4563294"/>
            <a:chExt cx="1068004" cy="1067951"/>
          </a:xfrm>
        </p:grpSpPr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7DF8374D-3624-2D58-99D6-3DD902D2DAC3}"/>
                </a:ext>
              </a:extLst>
            </p:cNvPr>
            <p:cNvSpPr/>
            <p:nvPr/>
          </p:nvSpPr>
          <p:spPr>
            <a:xfrm rot="5400000">
              <a:off x="2241422" y="4563268"/>
              <a:ext cx="1067951" cy="106800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764" b="1" dirty="0">
                <a:solidFill>
                  <a:srgbClr val="FFFFFF"/>
                </a:solidFill>
              </a:endParaRPr>
            </a:p>
          </p:txBody>
        </p: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11BCE6B1-1093-0BB5-4268-5EC8D8794DE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575304" y="4777932"/>
              <a:ext cx="400186" cy="638676"/>
              <a:chOff x="6513513" y="557213"/>
              <a:chExt cx="471488" cy="752475"/>
            </a:xfrm>
            <a:solidFill>
              <a:schemeClr val="bg1"/>
            </a:solidFill>
          </p:grpSpPr>
          <p:sp>
            <p:nvSpPr>
              <p:cNvPr id="51" name="Freeform 21">
                <a:extLst>
                  <a:ext uri="{FF2B5EF4-FFF2-40B4-BE49-F238E27FC236}">
                    <a16:creationId xmlns:a16="http://schemas.microsoft.com/office/drawing/2014/main" id="{26B397CB-88E5-3E12-435B-6BB7CC911C9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13513" y="557213"/>
                <a:ext cx="471488" cy="752475"/>
              </a:xfrm>
              <a:custGeom>
                <a:avLst/>
                <a:gdLst>
                  <a:gd name="T0" fmla="*/ 80 w 160"/>
                  <a:gd name="T1" fmla="*/ 0 h 256"/>
                  <a:gd name="T2" fmla="*/ 11 w 160"/>
                  <a:gd name="T3" fmla="*/ 120 h 256"/>
                  <a:gd name="T4" fmla="*/ 42 w 160"/>
                  <a:gd name="T5" fmla="*/ 179 h 256"/>
                  <a:gd name="T6" fmla="*/ 49 w 160"/>
                  <a:gd name="T7" fmla="*/ 187 h 256"/>
                  <a:gd name="T8" fmla="*/ 48 w 160"/>
                  <a:gd name="T9" fmla="*/ 208 h 256"/>
                  <a:gd name="T10" fmla="*/ 52 w 160"/>
                  <a:gd name="T11" fmla="*/ 231 h 256"/>
                  <a:gd name="T12" fmla="*/ 108 w 160"/>
                  <a:gd name="T13" fmla="*/ 231 h 256"/>
                  <a:gd name="T14" fmla="*/ 112 w 160"/>
                  <a:gd name="T15" fmla="*/ 208 h 256"/>
                  <a:gd name="T16" fmla="*/ 110 w 160"/>
                  <a:gd name="T17" fmla="*/ 187 h 256"/>
                  <a:gd name="T18" fmla="*/ 118 w 160"/>
                  <a:gd name="T19" fmla="*/ 179 h 256"/>
                  <a:gd name="T20" fmla="*/ 149 w 160"/>
                  <a:gd name="T21" fmla="*/ 120 h 256"/>
                  <a:gd name="T22" fmla="*/ 80 w 160"/>
                  <a:gd name="T23" fmla="*/ 248 h 256"/>
                  <a:gd name="T24" fmla="*/ 99 w 160"/>
                  <a:gd name="T25" fmla="*/ 232 h 256"/>
                  <a:gd name="T26" fmla="*/ 108 w 160"/>
                  <a:gd name="T27" fmla="*/ 218 h 256"/>
                  <a:gd name="T28" fmla="*/ 58 w 160"/>
                  <a:gd name="T29" fmla="*/ 224 h 256"/>
                  <a:gd name="T30" fmla="*/ 58 w 160"/>
                  <a:gd name="T31" fmla="*/ 212 h 256"/>
                  <a:gd name="T32" fmla="*/ 108 w 160"/>
                  <a:gd name="T33" fmla="*/ 218 h 256"/>
                  <a:gd name="T34" fmla="*/ 108 w 160"/>
                  <a:gd name="T35" fmla="*/ 198 h 256"/>
                  <a:gd name="T36" fmla="*/ 58 w 160"/>
                  <a:gd name="T37" fmla="*/ 204 h 256"/>
                  <a:gd name="T38" fmla="*/ 58 w 160"/>
                  <a:gd name="T39" fmla="*/ 192 h 256"/>
                  <a:gd name="T40" fmla="*/ 96 w 160"/>
                  <a:gd name="T41" fmla="*/ 192 h 256"/>
                  <a:gd name="T42" fmla="*/ 135 w 160"/>
                  <a:gd name="T43" fmla="*/ 112 h 256"/>
                  <a:gd name="T44" fmla="*/ 104 w 160"/>
                  <a:gd name="T45" fmla="*/ 170 h 256"/>
                  <a:gd name="T46" fmla="*/ 96 w 160"/>
                  <a:gd name="T47" fmla="*/ 176 h 256"/>
                  <a:gd name="T48" fmla="*/ 96 w 160"/>
                  <a:gd name="T49" fmla="*/ 124 h 256"/>
                  <a:gd name="T50" fmla="*/ 88 w 160"/>
                  <a:gd name="T51" fmla="*/ 176 h 256"/>
                  <a:gd name="T52" fmla="*/ 68 w 160"/>
                  <a:gd name="T53" fmla="*/ 128 h 256"/>
                  <a:gd name="T54" fmla="*/ 60 w 160"/>
                  <a:gd name="T55" fmla="*/ 129 h 256"/>
                  <a:gd name="T56" fmla="*/ 57 w 160"/>
                  <a:gd name="T57" fmla="*/ 172 h 256"/>
                  <a:gd name="T58" fmla="*/ 26 w 160"/>
                  <a:gd name="T59" fmla="*/ 114 h 256"/>
                  <a:gd name="T60" fmla="*/ 16 w 160"/>
                  <a:gd name="T61" fmla="*/ 80 h 256"/>
                  <a:gd name="T62" fmla="*/ 144 w 160"/>
                  <a:gd name="T63" fmla="*/ 80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60" h="256">
                    <a:moveTo>
                      <a:pt x="160" y="80"/>
                    </a:moveTo>
                    <a:cubicBezTo>
                      <a:pt x="160" y="36"/>
                      <a:pt x="124" y="0"/>
                      <a:pt x="80" y="0"/>
                    </a:cubicBezTo>
                    <a:cubicBezTo>
                      <a:pt x="36" y="0"/>
                      <a:pt x="0" y="36"/>
                      <a:pt x="0" y="80"/>
                    </a:cubicBezTo>
                    <a:cubicBezTo>
                      <a:pt x="0" y="95"/>
                      <a:pt x="4" y="109"/>
                      <a:pt x="11" y="120"/>
                    </a:cubicBezTo>
                    <a:cubicBezTo>
                      <a:pt x="11" y="120"/>
                      <a:pt x="11" y="120"/>
                      <a:pt x="11" y="120"/>
                    </a:cubicBezTo>
                    <a:cubicBezTo>
                      <a:pt x="42" y="179"/>
                      <a:pt x="42" y="179"/>
                      <a:pt x="42" y="179"/>
                    </a:cubicBezTo>
                    <a:cubicBezTo>
                      <a:pt x="42" y="179"/>
                      <a:pt x="42" y="179"/>
                      <a:pt x="42" y="179"/>
                    </a:cubicBezTo>
                    <a:cubicBezTo>
                      <a:pt x="44" y="182"/>
                      <a:pt x="46" y="185"/>
                      <a:pt x="49" y="187"/>
                    </a:cubicBezTo>
                    <a:cubicBezTo>
                      <a:pt x="46" y="190"/>
                      <a:pt x="44" y="194"/>
                      <a:pt x="44" y="198"/>
                    </a:cubicBezTo>
                    <a:cubicBezTo>
                      <a:pt x="44" y="202"/>
                      <a:pt x="46" y="206"/>
                      <a:pt x="48" y="208"/>
                    </a:cubicBezTo>
                    <a:cubicBezTo>
                      <a:pt x="46" y="211"/>
                      <a:pt x="44" y="214"/>
                      <a:pt x="44" y="218"/>
                    </a:cubicBezTo>
                    <a:cubicBezTo>
                      <a:pt x="44" y="224"/>
                      <a:pt x="47" y="229"/>
                      <a:pt x="52" y="231"/>
                    </a:cubicBezTo>
                    <a:cubicBezTo>
                      <a:pt x="53" y="245"/>
                      <a:pt x="65" y="256"/>
                      <a:pt x="80" y="256"/>
                    </a:cubicBezTo>
                    <a:cubicBezTo>
                      <a:pt x="94" y="256"/>
                      <a:pt x="106" y="245"/>
                      <a:pt x="108" y="231"/>
                    </a:cubicBezTo>
                    <a:cubicBezTo>
                      <a:pt x="112" y="229"/>
                      <a:pt x="116" y="224"/>
                      <a:pt x="116" y="218"/>
                    </a:cubicBezTo>
                    <a:cubicBezTo>
                      <a:pt x="116" y="214"/>
                      <a:pt x="114" y="211"/>
                      <a:pt x="112" y="208"/>
                    </a:cubicBezTo>
                    <a:cubicBezTo>
                      <a:pt x="114" y="206"/>
                      <a:pt x="116" y="202"/>
                      <a:pt x="116" y="198"/>
                    </a:cubicBezTo>
                    <a:cubicBezTo>
                      <a:pt x="116" y="194"/>
                      <a:pt x="114" y="190"/>
                      <a:pt x="110" y="187"/>
                    </a:cubicBezTo>
                    <a:cubicBezTo>
                      <a:pt x="113" y="185"/>
                      <a:pt x="116" y="182"/>
                      <a:pt x="118" y="179"/>
                    </a:cubicBezTo>
                    <a:cubicBezTo>
                      <a:pt x="118" y="179"/>
                      <a:pt x="118" y="179"/>
                      <a:pt x="118" y="179"/>
                    </a:cubicBezTo>
                    <a:cubicBezTo>
                      <a:pt x="149" y="120"/>
                      <a:pt x="149" y="120"/>
                      <a:pt x="149" y="120"/>
                    </a:cubicBezTo>
                    <a:cubicBezTo>
                      <a:pt x="149" y="120"/>
                      <a:pt x="149" y="120"/>
                      <a:pt x="149" y="120"/>
                    </a:cubicBezTo>
                    <a:cubicBezTo>
                      <a:pt x="156" y="109"/>
                      <a:pt x="160" y="95"/>
                      <a:pt x="160" y="80"/>
                    </a:cubicBezTo>
                    <a:close/>
                    <a:moveTo>
                      <a:pt x="80" y="248"/>
                    </a:moveTo>
                    <a:cubicBezTo>
                      <a:pt x="70" y="248"/>
                      <a:pt x="62" y="241"/>
                      <a:pt x="60" y="232"/>
                    </a:cubicBezTo>
                    <a:cubicBezTo>
                      <a:pt x="99" y="232"/>
                      <a:pt x="99" y="232"/>
                      <a:pt x="99" y="232"/>
                    </a:cubicBezTo>
                    <a:cubicBezTo>
                      <a:pt x="97" y="241"/>
                      <a:pt x="89" y="248"/>
                      <a:pt x="80" y="248"/>
                    </a:cubicBezTo>
                    <a:close/>
                    <a:moveTo>
                      <a:pt x="108" y="218"/>
                    </a:moveTo>
                    <a:cubicBezTo>
                      <a:pt x="108" y="222"/>
                      <a:pt x="105" y="224"/>
                      <a:pt x="102" y="224"/>
                    </a:cubicBezTo>
                    <a:cubicBezTo>
                      <a:pt x="58" y="224"/>
                      <a:pt x="58" y="224"/>
                      <a:pt x="58" y="224"/>
                    </a:cubicBezTo>
                    <a:cubicBezTo>
                      <a:pt x="55" y="224"/>
                      <a:pt x="52" y="222"/>
                      <a:pt x="52" y="218"/>
                    </a:cubicBezTo>
                    <a:cubicBezTo>
                      <a:pt x="52" y="215"/>
                      <a:pt x="55" y="212"/>
                      <a:pt x="58" y="212"/>
                    </a:cubicBezTo>
                    <a:cubicBezTo>
                      <a:pt x="102" y="212"/>
                      <a:pt x="102" y="212"/>
                      <a:pt x="102" y="212"/>
                    </a:cubicBezTo>
                    <a:cubicBezTo>
                      <a:pt x="105" y="212"/>
                      <a:pt x="108" y="215"/>
                      <a:pt x="108" y="218"/>
                    </a:cubicBezTo>
                    <a:close/>
                    <a:moveTo>
                      <a:pt x="102" y="192"/>
                    </a:moveTo>
                    <a:cubicBezTo>
                      <a:pt x="105" y="192"/>
                      <a:pt x="108" y="195"/>
                      <a:pt x="108" y="198"/>
                    </a:cubicBezTo>
                    <a:cubicBezTo>
                      <a:pt x="108" y="202"/>
                      <a:pt x="105" y="204"/>
                      <a:pt x="102" y="204"/>
                    </a:cubicBezTo>
                    <a:cubicBezTo>
                      <a:pt x="58" y="204"/>
                      <a:pt x="58" y="204"/>
                      <a:pt x="58" y="204"/>
                    </a:cubicBezTo>
                    <a:cubicBezTo>
                      <a:pt x="55" y="204"/>
                      <a:pt x="52" y="202"/>
                      <a:pt x="52" y="198"/>
                    </a:cubicBezTo>
                    <a:cubicBezTo>
                      <a:pt x="52" y="195"/>
                      <a:pt x="55" y="192"/>
                      <a:pt x="58" y="192"/>
                    </a:cubicBezTo>
                    <a:cubicBezTo>
                      <a:pt x="64" y="192"/>
                      <a:pt x="64" y="192"/>
                      <a:pt x="64" y="192"/>
                    </a:cubicBezTo>
                    <a:cubicBezTo>
                      <a:pt x="96" y="192"/>
                      <a:pt x="96" y="192"/>
                      <a:pt x="96" y="192"/>
                    </a:cubicBezTo>
                    <a:lnTo>
                      <a:pt x="102" y="192"/>
                    </a:lnTo>
                    <a:close/>
                    <a:moveTo>
                      <a:pt x="135" y="112"/>
                    </a:moveTo>
                    <a:cubicBezTo>
                      <a:pt x="135" y="113"/>
                      <a:pt x="135" y="114"/>
                      <a:pt x="134" y="114"/>
                    </a:cubicBezTo>
                    <a:cubicBezTo>
                      <a:pt x="104" y="170"/>
                      <a:pt x="104" y="170"/>
                      <a:pt x="104" y="170"/>
                    </a:cubicBezTo>
                    <a:cubicBezTo>
                      <a:pt x="104" y="170"/>
                      <a:pt x="103" y="171"/>
                      <a:pt x="103" y="172"/>
                    </a:cubicBezTo>
                    <a:cubicBezTo>
                      <a:pt x="102" y="174"/>
                      <a:pt x="100" y="176"/>
                      <a:pt x="96" y="176"/>
                    </a:cubicBezTo>
                    <a:cubicBezTo>
                      <a:pt x="100" y="129"/>
                      <a:pt x="100" y="129"/>
                      <a:pt x="100" y="129"/>
                    </a:cubicBezTo>
                    <a:cubicBezTo>
                      <a:pt x="100" y="126"/>
                      <a:pt x="98" y="124"/>
                      <a:pt x="96" y="124"/>
                    </a:cubicBezTo>
                    <a:cubicBezTo>
                      <a:pt x="94" y="124"/>
                      <a:pt x="92" y="126"/>
                      <a:pt x="92" y="128"/>
                    </a:cubicBezTo>
                    <a:cubicBezTo>
                      <a:pt x="88" y="176"/>
                      <a:pt x="88" y="176"/>
                      <a:pt x="88" y="176"/>
                    </a:cubicBezTo>
                    <a:cubicBezTo>
                      <a:pt x="72" y="176"/>
                      <a:pt x="72" y="176"/>
                      <a:pt x="72" y="176"/>
                    </a:cubicBezTo>
                    <a:cubicBezTo>
                      <a:pt x="68" y="128"/>
                      <a:pt x="68" y="128"/>
                      <a:pt x="68" y="128"/>
                    </a:cubicBezTo>
                    <a:cubicBezTo>
                      <a:pt x="68" y="126"/>
                      <a:pt x="66" y="124"/>
                      <a:pt x="64" y="124"/>
                    </a:cubicBezTo>
                    <a:cubicBezTo>
                      <a:pt x="61" y="124"/>
                      <a:pt x="60" y="126"/>
                      <a:pt x="60" y="129"/>
                    </a:cubicBezTo>
                    <a:cubicBezTo>
                      <a:pt x="64" y="176"/>
                      <a:pt x="64" y="176"/>
                      <a:pt x="64" y="176"/>
                    </a:cubicBezTo>
                    <a:cubicBezTo>
                      <a:pt x="60" y="176"/>
                      <a:pt x="58" y="174"/>
                      <a:pt x="57" y="172"/>
                    </a:cubicBezTo>
                    <a:cubicBezTo>
                      <a:pt x="56" y="171"/>
                      <a:pt x="56" y="171"/>
                      <a:pt x="56" y="170"/>
                    </a:cubicBezTo>
                    <a:cubicBezTo>
                      <a:pt x="26" y="114"/>
                      <a:pt x="26" y="114"/>
                      <a:pt x="26" y="114"/>
                    </a:cubicBezTo>
                    <a:cubicBezTo>
                      <a:pt x="25" y="114"/>
                      <a:pt x="25" y="113"/>
                      <a:pt x="25" y="112"/>
                    </a:cubicBezTo>
                    <a:cubicBezTo>
                      <a:pt x="19" y="103"/>
                      <a:pt x="16" y="91"/>
                      <a:pt x="16" y="80"/>
                    </a:cubicBezTo>
                    <a:cubicBezTo>
                      <a:pt x="16" y="45"/>
                      <a:pt x="45" y="16"/>
                      <a:pt x="80" y="16"/>
                    </a:cubicBezTo>
                    <a:cubicBezTo>
                      <a:pt x="115" y="16"/>
                      <a:pt x="144" y="45"/>
                      <a:pt x="144" y="80"/>
                    </a:cubicBezTo>
                    <a:cubicBezTo>
                      <a:pt x="144" y="91"/>
                      <a:pt x="141" y="103"/>
                      <a:pt x="135" y="1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40" b="1">
                  <a:latin typeface="+mn-lt"/>
                </a:endParaRPr>
              </a:p>
            </p:txBody>
          </p:sp>
          <p:sp>
            <p:nvSpPr>
              <p:cNvPr id="52" name="Freeform 22">
                <a:extLst>
                  <a:ext uri="{FF2B5EF4-FFF2-40B4-BE49-F238E27FC236}">
                    <a16:creationId xmlns:a16="http://schemas.microsoft.com/office/drawing/2014/main" id="{6D3CE9C8-8176-4EBB-6E1D-9266758EAE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08763" y="642938"/>
                <a:ext cx="120650" cy="103188"/>
              </a:xfrm>
              <a:custGeom>
                <a:avLst/>
                <a:gdLst>
                  <a:gd name="T0" fmla="*/ 35 w 41"/>
                  <a:gd name="T1" fmla="*/ 1 h 35"/>
                  <a:gd name="T2" fmla="*/ 1 w 41"/>
                  <a:gd name="T3" fmla="*/ 29 h 35"/>
                  <a:gd name="T4" fmla="*/ 3 w 41"/>
                  <a:gd name="T5" fmla="*/ 35 h 35"/>
                  <a:gd name="T6" fmla="*/ 4 w 41"/>
                  <a:gd name="T7" fmla="*/ 35 h 35"/>
                  <a:gd name="T8" fmla="*/ 8 w 41"/>
                  <a:gd name="T9" fmla="*/ 33 h 35"/>
                  <a:gd name="T10" fmla="*/ 37 w 41"/>
                  <a:gd name="T11" fmla="*/ 9 h 35"/>
                  <a:gd name="T12" fmla="*/ 40 w 41"/>
                  <a:gd name="T13" fmla="*/ 4 h 35"/>
                  <a:gd name="T14" fmla="*/ 35 w 41"/>
                  <a:gd name="T15" fmla="*/ 1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35">
                    <a:moveTo>
                      <a:pt x="35" y="1"/>
                    </a:moveTo>
                    <a:cubicBezTo>
                      <a:pt x="20" y="5"/>
                      <a:pt x="7" y="15"/>
                      <a:pt x="1" y="29"/>
                    </a:cubicBezTo>
                    <a:cubicBezTo>
                      <a:pt x="0" y="31"/>
                      <a:pt x="1" y="34"/>
                      <a:pt x="3" y="35"/>
                    </a:cubicBezTo>
                    <a:cubicBezTo>
                      <a:pt x="3" y="35"/>
                      <a:pt x="4" y="35"/>
                      <a:pt x="4" y="35"/>
                    </a:cubicBezTo>
                    <a:cubicBezTo>
                      <a:pt x="6" y="35"/>
                      <a:pt x="7" y="34"/>
                      <a:pt x="8" y="33"/>
                    </a:cubicBezTo>
                    <a:cubicBezTo>
                      <a:pt x="14" y="21"/>
                      <a:pt x="24" y="12"/>
                      <a:pt x="37" y="9"/>
                    </a:cubicBezTo>
                    <a:cubicBezTo>
                      <a:pt x="39" y="8"/>
                      <a:pt x="41" y="6"/>
                      <a:pt x="40" y="4"/>
                    </a:cubicBezTo>
                    <a:cubicBezTo>
                      <a:pt x="40" y="2"/>
                      <a:pt x="37" y="0"/>
                      <a:pt x="35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40" b="1">
                  <a:latin typeface="+mn-lt"/>
                </a:endParaRPr>
              </a:p>
            </p:txBody>
          </p:sp>
        </p:grpSp>
      </p:grpSp>
      <p:sp>
        <p:nvSpPr>
          <p:cNvPr id="53" name="Oval 52">
            <a:extLst>
              <a:ext uri="{FF2B5EF4-FFF2-40B4-BE49-F238E27FC236}">
                <a16:creationId xmlns:a16="http://schemas.microsoft.com/office/drawing/2014/main" id="{9DB04CB5-5478-60A0-3708-42338B2391C9}"/>
              </a:ext>
            </a:extLst>
          </p:cNvPr>
          <p:cNvSpPr/>
          <p:nvPr/>
        </p:nvSpPr>
        <p:spPr>
          <a:xfrm rot="5400000">
            <a:off x="2242119" y="3040508"/>
            <a:ext cx="1066555" cy="1066556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764" b="1" dirty="0">
              <a:solidFill>
                <a:srgbClr val="FFFFFF"/>
              </a:solidFill>
            </a:endParaRP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2E387E2A-F38E-9818-A1BD-80AC99217003}"/>
              </a:ext>
            </a:extLst>
          </p:cNvPr>
          <p:cNvGrpSpPr>
            <a:grpSpLocks noChangeAspect="1"/>
          </p:cNvGrpSpPr>
          <p:nvPr/>
        </p:nvGrpSpPr>
        <p:grpSpPr>
          <a:xfrm>
            <a:off x="2555167" y="3381079"/>
            <a:ext cx="433084" cy="412235"/>
            <a:chOff x="6719888" y="887413"/>
            <a:chExt cx="492125" cy="468312"/>
          </a:xfrm>
          <a:solidFill>
            <a:schemeClr val="bg1"/>
          </a:solidFill>
        </p:grpSpPr>
        <p:sp>
          <p:nvSpPr>
            <p:cNvPr id="55" name="Freeform 26">
              <a:extLst>
                <a:ext uri="{FF2B5EF4-FFF2-40B4-BE49-F238E27FC236}">
                  <a16:creationId xmlns:a16="http://schemas.microsoft.com/office/drawing/2014/main" id="{CDF109F4-9D5F-CF42-A54F-37BBEEFEC5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9888" y="887413"/>
              <a:ext cx="492125" cy="468312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8 w 128"/>
                <a:gd name="T13" fmla="*/ 110 h 122"/>
                <a:gd name="T14" fmla="*/ 35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2" y="106"/>
                    <a:pt x="39" y="109"/>
                    <a:pt x="38" y="110"/>
                  </a:cubicBezTo>
                  <a:cubicBezTo>
                    <a:pt x="36" y="111"/>
                    <a:pt x="35" y="112"/>
                    <a:pt x="35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5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2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6" name="Freeform 27">
              <a:extLst>
                <a:ext uri="{FF2B5EF4-FFF2-40B4-BE49-F238E27FC236}">
                  <a16:creationId xmlns:a16="http://schemas.microsoft.com/office/drawing/2014/main" id="{EFAAEECA-7BED-0E72-F14E-CF9A7F42FC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801" y="947738"/>
              <a:ext cx="368300" cy="247650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7" name="Freeform 28">
              <a:extLst>
                <a:ext uri="{FF2B5EF4-FFF2-40B4-BE49-F238E27FC236}">
                  <a16:creationId xmlns:a16="http://schemas.microsoft.com/office/drawing/2014/main" id="{DA152E11-2E7B-8EC7-A819-69D42AB995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3726" y="1201738"/>
              <a:ext cx="46038" cy="47625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8" name="Freeform 29">
              <a:extLst>
                <a:ext uri="{FF2B5EF4-FFF2-40B4-BE49-F238E27FC236}">
                  <a16:creationId xmlns:a16="http://schemas.microsoft.com/office/drawing/2014/main" id="{30B6EBBF-21E2-E484-F871-F5F96A86E4B6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1044575"/>
              <a:ext cx="61913" cy="65087"/>
            </a:xfrm>
            <a:custGeom>
              <a:avLst/>
              <a:gdLst>
                <a:gd name="T0" fmla="*/ 0 w 39"/>
                <a:gd name="T1" fmla="*/ 24 h 41"/>
                <a:gd name="T2" fmla="*/ 39 w 39"/>
                <a:gd name="T3" fmla="*/ 41 h 41"/>
                <a:gd name="T4" fmla="*/ 39 w 39"/>
                <a:gd name="T5" fmla="*/ 32 h 41"/>
                <a:gd name="T6" fmla="*/ 12 w 39"/>
                <a:gd name="T7" fmla="*/ 19 h 41"/>
                <a:gd name="T8" fmla="*/ 39 w 39"/>
                <a:gd name="T9" fmla="*/ 10 h 41"/>
                <a:gd name="T10" fmla="*/ 39 w 39"/>
                <a:gd name="T11" fmla="*/ 0 h 41"/>
                <a:gd name="T12" fmla="*/ 0 w 39"/>
                <a:gd name="T13" fmla="*/ 17 h 41"/>
                <a:gd name="T14" fmla="*/ 0 w 39"/>
                <a:gd name="T15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0" y="24"/>
                  </a:moveTo>
                  <a:lnTo>
                    <a:pt x="39" y="41"/>
                  </a:lnTo>
                  <a:lnTo>
                    <a:pt x="39" y="32"/>
                  </a:lnTo>
                  <a:lnTo>
                    <a:pt x="12" y="19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0" y="17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9" name="Freeform 30">
              <a:extLst>
                <a:ext uri="{FF2B5EF4-FFF2-40B4-BE49-F238E27FC236}">
                  <a16:creationId xmlns:a16="http://schemas.microsoft.com/office/drawing/2014/main" id="{A0F9C045-63A8-0367-0DEE-AA48A615FC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076" y="1033463"/>
              <a:ext cx="31750" cy="87312"/>
            </a:xfrm>
            <a:custGeom>
              <a:avLst/>
              <a:gdLst>
                <a:gd name="T0" fmla="*/ 7 w 8"/>
                <a:gd name="T1" fmla="*/ 0 h 23"/>
                <a:gd name="T2" fmla="*/ 5 w 8"/>
                <a:gd name="T3" fmla="*/ 0 h 23"/>
                <a:gd name="T4" fmla="*/ 5 w 8"/>
                <a:gd name="T5" fmla="*/ 2 h 23"/>
                <a:gd name="T6" fmla="*/ 0 w 8"/>
                <a:gd name="T7" fmla="*/ 20 h 23"/>
                <a:gd name="T8" fmla="*/ 0 w 8"/>
                <a:gd name="T9" fmla="*/ 22 h 23"/>
                <a:gd name="T10" fmla="*/ 2 w 8"/>
                <a:gd name="T11" fmla="*/ 23 h 23"/>
                <a:gd name="T12" fmla="*/ 3 w 8"/>
                <a:gd name="T13" fmla="*/ 23 h 23"/>
                <a:gd name="T14" fmla="*/ 3 w 8"/>
                <a:gd name="T15" fmla="*/ 22 h 23"/>
                <a:gd name="T16" fmla="*/ 4 w 8"/>
                <a:gd name="T17" fmla="*/ 21 h 23"/>
                <a:gd name="T18" fmla="*/ 8 w 8"/>
                <a:gd name="T19" fmla="*/ 3 h 23"/>
                <a:gd name="T20" fmla="*/ 8 w 8"/>
                <a:gd name="T21" fmla="*/ 1 h 23"/>
                <a:gd name="T22" fmla="*/ 8 w 8"/>
                <a:gd name="T23" fmla="*/ 0 h 23"/>
                <a:gd name="T24" fmla="*/ 7 w 8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2"/>
                    <a:pt x="3" y="21"/>
                    <a:pt x="4" y="2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0" name="Freeform 31">
              <a:extLst>
                <a:ext uri="{FF2B5EF4-FFF2-40B4-BE49-F238E27FC236}">
                  <a16:creationId xmlns:a16="http://schemas.microsoft.com/office/drawing/2014/main" id="{E28B5E3F-7026-0CDF-06CF-EBB9AD6DCFE7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763" y="1044575"/>
              <a:ext cx="60325" cy="65087"/>
            </a:xfrm>
            <a:custGeom>
              <a:avLst/>
              <a:gdLst>
                <a:gd name="T0" fmla="*/ 0 w 38"/>
                <a:gd name="T1" fmla="*/ 10 h 41"/>
                <a:gd name="T2" fmla="*/ 26 w 38"/>
                <a:gd name="T3" fmla="*/ 19 h 41"/>
                <a:gd name="T4" fmla="*/ 0 w 38"/>
                <a:gd name="T5" fmla="*/ 32 h 41"/>
                <a:gd name="T6" fmla="*/ 0 w 38"/>
                <a:gd name="T7" fmla="*/ 41 h 41"/>
                <a:gd name="T8" fmla="*/ 38 w 38"/>
                <a:gd name="T9" fmla="*/ 24 h 41"/>
                <a:gd name="T10" fmla="*/ 38 w 38"/>
                <a:gd name="T11" fmla="*/ 17 h 41"/>
                <a:gd name="T12" fmla="*/ 0 w 38"/>
                <a:gd name="T13" fmla="*/ 0 h 41"/>
                <a:gd name="T14" fmla="*/ 0 w 38"/>
                <a:gd name="T15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1">
                  <a:moveTo>
                    <a:pt x="0" y="10"/>
                  </a:moveTo>
                  <a:lnTo>
                    <a:pt x="26" y="19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38" y="24"/>
                  </a:lnTo>
                  <a:lnTo>
                    <a:pt x="38" y="17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840" b="1" dirty="0">
                <a:solidFill>
                  <a:schemeClr val="bg1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835753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9</TotalTime>
  <Words>41</Words>
  <Application>Microsoft Office PowerPoint</Application>
  <PresentationFormat>Widescreen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7 Concep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533</cp:revision>
  <dcterms:created xsi:type="dcterms:W3CDTF">2021-03-31T02:49:57Z</dcterms:created>
  <dcterms:modified xsi:type="dcterms:W3CDTF">2025-10-16T11:00:33Z</dcterms:modified>
  <cp:category/>
</cp:coreProperties>
</file>